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8" r:id="rId1"/>
  </p:sldMasterIdLst>
  <p:notesMasterIdLst>
    <p:notesMasterId r:id="rId22"/>
  </p:notesMasterIdLst>
  <p:sldIdLst>
    <p:sldId id="256" r:id="rId2"/>
    <p:sldId id="258" r:id="rId3"/>
    <p:sldId id="327" r:id="rId4"/>
    <p:sldId id="314" r:id="rId5"/>
    <p:sldId id="316" r:id="rId6"/>
    <p:sldId id="323" r:id="rId7"/>
    <p:sldId id="324" r:id="rId8"/>
    <p:sldId id="328" r:id="rId9"/>
    <p:sldId id="315" r:id="rId10"/>
    <p:sldId id="325" r:id="rId11"/>
    <p:sldId id="326" r:id="rId12"/>
    <p:sldId id="317" r:id="rId13"/>
    <p:sldId id="331" r:id="rId14"/>
    <p:sldId id="329" r:id="rId15"/>
    <p:sldId id="320" r:id="rId16"/>
    <p:sldId id="319" r:id="rId17"/>
    <p:sldId id="330" r:id="rId18"/>
    <p:sldId id="322" r:id="rId19"/>
    <p:sldId id="321" r:id="rId20"/>
    <p:sldId id="266" r:id="rId21"/>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E8E8E"/>
    <a:srgbClr val="FF7300"/>
    <a:srgbClr val="FFF2CC"/>
    <a:srgbClr val="FFCE00"/>
    <a:srgbClr val="87CD79"/>
    <a:srgbClr val="38E866"/>
    <a:srgbClr val="FF9901"/>
    <a:srgbClr val="F2CE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3B549BD-A454-4573-9C65-6684AB3E2B52}">
  <a:tblStyle styleId="{03B549BD-A454-4573-9C65-6684AB3E2B52}" styleName="Table_0">
    <a:wholeTbl>
      <a:tcTxStyle>
        <a:font>
          <a:latin typeface="Arial"/>
          <a:ea typeface="Arial"/>
          <a:cs typeface="Arial"/>
        </a:font>
        <a:srgbClr val="000000"/>
      </a:tcTxStyle>
      <a:tcStyle>
        <a:tcBdr>
          <a:left>
            <a:ln w="9525" cap="flat" cmpd="sng">
              <a:solidFill>
                <a:srgbClr val="000000"/>
              </a:solidFill>
              <a:prstDash val="solid"/>
              <a:round/>
              <a:headEnd type="none" w="med" len="med"/>
              <a:tailEnd type="none" w="med" len="med"/>
            </a:ln>
          </a:left>
          <a:right>
            <a:ln w="9525" cap="flat" cmpd="sng">
              <a:solidFill>
                <a:srgbClr val="000000"/>
              </a:solidFill>
              <a:prstDash val="solid"/>
              <a:round/>
              <a:headEnd type="none" w="med" len="med"/>
              <a:tailEnd type="none" w="med" len="med"/>
            </a:ln>
          </a:right>
          <a:top>
            <a:ln w="9525" cap="flat" cmpd="sng">
              <a:solidFill>
                <a:srgbClr val="000000"/>
              </a:solidFill>
              <a:prstDash val="solid"/>
              <a:round/>
              <a:headEnd type="none" w="med" len="med"/>
              <a:tailEnd type="none" w="med" len="med"/>
            </a:ln>
          </a:top>
          <a:bottom>
            <a:ln w="9525" cap="flat" cmpd="sng">
              <a:solidFill>
                <a:srgbClr val="000000"/>
              </a:solidFill>
              <a:prstDash val="solid"/>
              <a:round/>
              <a:headEnd type="none" w="med" len="med"/>
              <a:tailEnd type="none" w="med" len="med"/>
            </a:ln>
          </a:bottom>
          <a:insideH>
            <a:ln w="9525" cap="flat" cmpd="sng">
              <a:solidFill>
                <a:srgbClr val="000000"/>
              </a:solidFill>
              <a:prstDash val="solid"/>
              <a:round/>
              <a:headEnd type="none" w="med" len="med"/>
              <a:tailEnd type="none" w="med" len="med"/>
            </a:ln>
          </a:insideH>
          <a:insideV>
            <a:ln w="9525" cap="flat" cmpd="sng">
              <a:solidFill>
                <a:srgbClr val="000000"/>
              </a:solidFill>
              <a:prstDash val="solid"/>
              <a:round/>
              <a:headEnd type="none" w="med" len="med"/>
              <a:tailEnd type="none" w="med" len="med"/>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38"/>
    <p:restoredTop sz="94607"/>
  </p:normalViewPr>
  <p:slideViewPr>
    <p:cSldViewPr snapToGrid="0" snapToObjects="1">
      <p:cViewPr varScale="1">
        <p:scale>
          <a:sx n="91" d="100"/>
          <a:sy n="91" d="100"/>
        </p:scale>
        <p:origin x="68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F451A7-8513-4CDA-8CD8-1544329BDEEA}" type="doc">
      <dgm:prSet loTypeId="urn:microsoft.com/office/officeart/2005/8/layout/lProcess2" loCatId="list" qsTypeId="urn:microsoft.com/office/officeart/2005/8/quickstyle/simple2" qsCatId="simple" csTypeId="urn:microsoft.com/office/officeart/2005/8/colors/accent1_2" csCatId="accent1" phldr="1"/>
      <dgm:spPr/>
      <dgm:t>
        <a:bodyPr/>
        <a:lstStyle/>
        <a:p>
          <a:endParaRPr lang="pt-PT"/>
        </a:p>
      </dgm:t>
    </dgm:pt>
    <dgm:pt modelId="{9BBF598A-5593-4357-9936-676850BA47B0}">
      <dgm:prSet phldrT="[Texto]" phldr="1" custT="1"/>
      <dgm:spPr>
        <a:noFill/>
      </dgm:spPr>
      <dgm:t>
        <a:bodyPr/>
        <a:lstStyle/>
        <a:p>
          <a:endParaRPr lang="pt-PT" sz="2800" dirty="0"/>
        </a:p>
      </dgm:t>
    </dgm:pt>
    <dgm:pt modelId="{57EE7F76-26DF-4385-8102-16CAC2C0407E}" type="parTrans" cxnId="{A8DB0667-6FAD-4237-AEE8-BBCA9DE0FBD5}">
      <dgm:prSet/>
      <dgm:spPr/>
      <dgm:t>
        <a:bodyPr/>
        <a:lstStyle/>
        <a:p>
          <a:endParaRPr lang="pt-PT" sz="2400"/>
        </a:p>
      </dgm:t>
    </dgm:pt>
    <dgm:pt modelId="{06F5C23F-F659-4E2D-B16A-F53927F2A52D}" type="sibTrans" cxnId="{A8DB0667-6FAD-4237-AEE8-BBCA9DE0FBD5}">
      <dgm:prSet/>
      <dgm:spPr/>
      <dgm:t>
        <a:bodyPr/>
        <a:lstStyle/>
        <a:p>
          <a:endParaRPr lang="pt-PT" sz="2400"/>
        </a:p>
      </dgm:t>
    </dgm:pt>
    <dgm:pt modelId="{39C4AD68-EED4-49E3-8E43-9251AB0552C6}">
      <dgm:prSet phldrT="[Texto]" custT="1"/>
      <dgm:spPr>
        <a:noFill/>
        <a:ln>
          <a:noFill/>
        </a:ln>
        <a:effectLst/>
      </dgm:spPr>
      <dgm:t>
        <a:bodyPr/>
        <a:lstStyle/>
        <a:p>
          <a:r>
            <a:rPr lang="pt-PT" sz="1050" b="1" dirty="0">
              <a:solidFill>
                <a:schemeClr val="tx1"/>
              </a:solidFill>
            </a:rPr>
            <a:t>SCOPE</a:t>
          </a:r>
          <a:endParaRPr lang="pt-PT" sz="1100" b="1" dirty="0">
            <a:solidFill>
              <a:schemeClr val="tx1"/>
            </a:solidFill>
          </a:endParaRPr>
        </a:p>
      </dgm:t>
    </dgm:pt>
    <dgm:pt modelId="{BC5DCDC3-69DB-4FD4-B940-74FC974E9E1E}" type="parTrans" cxnId="{F59DECD1-3B7F-42EB-B70F-6FFF8F25C17F}">
      <dgm:prSet/>
      <dgm:spPr/>
      <dgm:t>
        <a:bodyPr/>
        <a:lstStyle/>
        <a:p>
          <a:endParaRPr lang="pt-PT" sz="2400"/>
        </a:p>
      </dgm:t>
    </dgm:pt>
    <dgm:pt modelId="{A8198A3B-BD03-4505-93D0-A3AF591C354A}" type="sibTrans" cxnId="{F59DECD1-3B7F-42EB-B70F-6FFF8F25C17F}">
      <dgm:prSet/>
      <dgm:spPr/>
      <dgm:t>
        <a:bodyPr/>
        <a:lstStyle/>
        <a:p>
          <a:endParaRPr lang="pt-PT" sz="2400"/>
        </a:p>
      </dgm:t>
    </dgm:pt>
    <dgm:pt modelId="{AA5831C9-DCCF-4E93-809B-506A4235EF3C}">
      <dgm:prSet phldrT="[Texto]" custT="1"/>
      <dgm:spPr>
        <a:noFill/>
        <a:ln>
          <a:noFill/>
        </a:ln>
        <a:effectLst/>
      </dgm:spPr>
      <dgm:t>
        <a:bodyPr/>
        <a:lstStyle/>
        <a:p>
          <a:r>
            <a:rPr lang="pt-PT" sz="1100" b="1" dirty="0">
              <a:solidFill>
                <a:schemeClr val="tx1"/>
              </a:solidFill>
            </a:rPr>
            <a:t>RESOURCE ENVELOPE</a:t>
          </a:r>
        </a:p>
      </dgm:t>
    </dgm:pt>
    <dgm:pt modelId="{C623EA10-7764-424B-982F-08AABB2A3DFD}" type="parTrans" cxnId="{194CCE40-9801-4E50-8FBF-EA448A444637}">
      <dgm:prSet/>
      <dgm:spPr/>
      <dgm:t>
        <a:bodyPr/>
        <a:lstStyle/>
        <a:p>
          <a:endParaRPr lang="pt-PT" sz="2400"/>
        </a:p>
      </dgm:t>
    </dgm:pt>
    <dgm:pt modelId="{95C656A9-1753-4CC8-9295-FA53407C9B09}" type="sibTrans" cxnId="{194CCE40-9801-4E50-8FBF-EA448A444637}">
      <dgm:prSet/>
      <dgm:spPr/>
      <dgm:t>
        <a:bodyPr/>
        <a:lstStyle/>
        <a:p>
          <a:endParaRPr lang="pt-PT" sz="2400"/>
        </a:p>
      </dgm:t>
    </dgm:pt>
    <dgm:pt modelId="{A58D882C-21D7-4198-9304-726CF267AAEF}">
      <dgm:prSet phldrT="[Texto]" custT="1"/>
      <dgm:spPr>
        <a:solidFill>
          <a:srgbClr val="FFCE00"/>
        </a:solidFill>
      </dgm:spPr>
      <dgm:t>
        <a:bodyPr/>
        <a:lstStyle/>
        <a:p>
          <a:r>
            <a:rPr lang="en-US" sz="1400" b="1" dirty="0">
              <a:effectLst/>
              <a:latin typeface="Calibri"/>
              <a:ea typeface="Cambria"/>
              <a:cs typeface="Times New Roman"/>
            </a:rPr>
            <a:t>Component I - Project Preparation Grants</a:t>
          </a:r>
          <a:endParaRPr lang="pt-PT" sz="1400" dirty="0"/>
        </a:p>
      </dgm:t>
    </dgm:pt>
    <dgm:pt modelId="{7B92D337-E4CE-4A1E-B0D0-3AF097078E81}" type="parTrans" cxnId="{05EF5508-492B-4A3D-BDA9-CC773BE30078}">
      <dgm:prSet/>
      <dgm:spPr/>
      <dgm:t>
        <a:bodyPr/>
        <a:lstStyle/>
        <a:p>
          <a:endParaRPr lang="pt-PT" sz="2400"/>
        </a:p>
      </dgm:t>
    </dgm:pt>
    <dgm:pt modelId="{3F7A685D-FAB7-4F6E-A4CF-21D745CC13DC}" type="sibTrans" cxnId="{05EF5508-492B-4A3D-BDA9-CC773BE30078}">
      <dgm:prSet/>
      <dgm:spPr/>
      <dgm:t>
        <a:bodyPr/>
        <a:lstStyle/>
        <a:p>
          <a:endParaRPr lang="pt-PT" sz="2400"/>
        </a:p>
      </dgm:t>
    </dgm:pt>
    <dgm:pt modelId="{4D3AFFF9-8DB0-4EA0-871A-8AB6CD8A9DBF}">
      <dgm:prSet phldrT="[Texto]" custT="1"/>
      <dgm:spPr>
        <a:noFill/>
        <a:ln>
          <a:noFill/>
        </a:ln>
        <a:effectLst/>
      </dgm:spPr>
      <dgm:t>
        <a:bodyPr/>
        <a:lstStyle/>
        <a:p>
          <a:r>
            <a:rPr lang="en-US" sz="1000" b="0" i="1" dirty="0">
              <a:solidFill>
                <a:sysClr val="windowText" lastClr="000000"/>
              </a:solidFill>
              <a:effectLst/>
              <a:latin typeface="Calibri"/>
              <a:ea typeface="Cambria"/>
              <a:cs typeface="Times New Roman"/>
            </a:rPr>
            <a:t>Preparation support to</a:t>
          </a:r>
          <a:endParaRPr lang="en-US" sz="1000" b="0" i="1" dirty="0">
            <a:solidFill>
              <a:sysClr val="windowText" lastClr="000000"/>
            </a:solidFill>
            <a:effectLst/>
            <a:latin typeface="Cambria"/>
            <a:ea typeface="Cambria"/>
            <a:cs typeface="Times New Roman"/>
          </a:endParaRPr>
        </a:p>
        <a:p>
          <a:pPr rtl="0"/>
          <a:r>
            <a:rPr lang="en-US" sz="1000" b="0" dirty="0">
              <a:solidFill>
                <a:sysClr val="windowText" lastClr="000000"/>
              </a:solidFill>
              <a:effectLst/>
              <a:latin typeface="Calibri"/>
              <a:ea typeface="Cambria"/>
              <a:cs typeface="Times New Roman"/>
            </a:rPr>
            <a:t>RE/EE </a:t>
          </a:r>
          <a:r>
            <a:rPr lang="en-US" sz="1000" b="0" dirty="0">
              <a:solidFill>
                <a:sysClr val="windowText" lastClr="000000"/>
              </a:solidFill>
              <a:effectLst/>
              <a:latin typeface="+mn-lt"/>
              <a:ea typeface="Cambria"/>
              <a:cs typeface="Times New Roman"/>
            </a:rPr>
            <a:t>Projects</a:t>
          </a:r>
          <a:endParaRPr lang="pt-PT" sz="1000" dirty="0">
            <a:solidFill>
              <a:sysClr val="windowText" lastClr="000000"/>
            </a:solidFill>
          </a:endParaRPr>
        </a:p>
      </dgm:t>
    </dgm:pt>
    <dgm:pt modelId="{60C638D6-092F-429B-A1FE-7AF274D88297}" type="parTrans" cxnId="{30D3F757-FC6E-41EC-8EB7-64C61DE12F36}">
      <dgm:prSet/>
      <dgm:spPr/>
      <dgm:t>
        <a:bodyPr/>
        <a:lstStyle/>
        <a:p>
          <a:endParaRPr lang="pt-PT" sz="2400"/>
        </a:p>
      </dgm:t>
    </dgm:pt>
    <dgm:pt modelId="{6FD86D3A-0671-49F3-B0C5-71739E810B85}" type="sibTrans" cxnId="{30D3F757-FC6E-41EC-8EB7-64C61DE12F36}">
      <dgm:prSet/>
      <dgm:spPr/>
      <dgm:t>
        <a:bodyPr/>
        <a:lstStyle/>
        <a:p>
          <a:endParaRPr lang="pt-PT" sz="2400"/>
        </a:p>
      </dgm:t>
    </dgm:pt>
    <dgm:pt modelId="{032E4C7F-08D0-4889-B47B-BF58965A4E88}">
      <dgm:prSet phldrT="[Texto]" custT="1"/>
      <dgm:spPr>
        <a:noFill/>
        <a:ln>
          <a:noFill/>
        </a:ln>
        <a:effectLst/>
      </dgm:spPr>
      <dgm:t>
        <a:bodyPr/>
        <a:lstStyle/>
        <a:p>
          <a:pPr rtl="0"/>
          <a:r>
            <a:rPr lang="en-US" sz="1100" b="1" dirty="0">
              <a:solidFill>
                <a:schemeClr val="tx1"/>
              </a:solidFill>
              <a:effectLst/>
              <a:latin typeface="Calibri"/>
              <a:ea typeface="Cambria"/>
              <a:cs typeface="Times New Roman"/>
            </a:rPr>
            <a:t>USD 25.2 million</a:t>
          </a:r>
          <a:endParaRPr lang="pt-PT" sz="1100" b="1" dirty="0">
            <a:solidFill>
              <a:schemeClr val="tx1"/>
            </a:solidFill>
            <a:effectLst/>
            <a:latin typeface="Calibri"/>
            <a:ea typeface="Cambria"/>
            <a:cs typeface="Times New Roman"/>
          </a:endParaRPr>
        </a:p>
      </dgm:t>
    </dgm:pt>
    <dgm:pt modelId="{E6EAE173-F235-4A29-82C7-4CC33161834F}" type="parTrans" cxnId="{4043E5F6-A572-4D2C-94A7-A4518C5D02F9}">
      <dgm:prSet/>
      <dgm:spPr/>
      <dgm:t>
        <a:bodyPr/>
        <a:lstStyle/>
        <a:p>
          <a:endParaRPr lang="pt-PT" sz="2400"/>
        </a:p>
      </dgm:t>
    </dgm:pt>
    <dgm:pt modelId="{C48D32DA-65AA-4825-8849-287496313FB1}" type="sibTrans" cxnId="{4043E5F6-A572-4D2C-94A7-A4518C5D02F9}">
      <dgm:prSet/>
      <dgm:spPr/>
      <dgm:t>
        <a:bodyPr/>
        <a:lstStyle/>
        <a:p>
          <a:endParaRPr lang="pt-PT" sz="2400"/>
        </a:p>
      </dgm:t>
    </dgm:pt>
    <dgm:pt modelId="{5BE0DF04-7C9F-4763-854A-8CEEC8B03E9A}">
      <dgm:prSet phldrT="[Texto]" custT="1"/>
      <dgm:spPr>
        <a:solidFill>
          <a:srgbClr val="FFCE00"/>
        </a:solidFill>
      </dgm:spPr>
      <dgm:t>
        <a:bodyPr/>
        <a:lstStyle/>
        <a:p>
          <a:r>
            <a:rPr lang="en-US" sz="1400" b="1" dirty="0">
              <a:effectLst/>
              <a:latin typeface="Calibri"/>
              <a:ea typeface="Cambria"/>
              <a:cs typeface="Times New Roman"/>
            </a:rPr>
            <a:t>Component II – Equity Investments</a:t>
          </a:r>
          <a:endParaRPr lang="pt-PT" sz="1400" b="1" dirty="0">
            <a:effectLst/>
            <a:latin typeface="Calibri"/>
            <a:ea typeface="Cambria"/>
            <a:cs typeface="Times New Roman"/>
          </a:endParaRPr>
        </a:p>
      </dgm:t>
    </dgm:pt>
    <dgm:pt modelId="{16DE4600-EC49-4C03-B704-BE65CD1A8848}" type="parTrans" cxnId="{EF85971A-29C4-4590-AE9C-BA296F4D2912}">
      <dgm:prSet/>
      <dgm:spPr/>
      <dgm:t>
        <a:bodyPr/>
        <a:lstStyle/>
        <a:p>
          <a:endParaRPr lang="pt-PT" sz="2400"/>
        </a:p>
      </dgm:t>
    </dgm:pt>
    <dgm:pt modelId="{D0C3CE7C-3F91-4676-8E5E-1D8A327D6CC6}" type="sibTrans" cxnId="{EF85971A-29C4-4590-AE9C-BA296F4D2912}">
      <dgm:prSet/>
      <dgm:spPr/>
      <dgm:t>
        <a:bodyPr/>
        <a:lstStyle/>
        <a:p>
          <a:endParaRPr lang="pt-PT" sz="2400"/>
        </a:p>
      </dgm:t>
    </dgm:pt>
    <dgm:pt modelId="{35B17157-BEFE-4E63-BF87-A0862AC983D3}">
      <dgm:prSet phldrT="[Texto]" custT="1"/>
      <dgm:spPr>
        <a:noFill/>
        <a:ln>
          <a:noFill/>
        </a:ln>
        <a:effectLst/>
      </dgm:spPr>
      <dgm:t>
        <a:bodyPr/>
        <a:lstStyle/>
        <a:p>
          <a:r>
            <a:rPr lang="pt-PT" sz="1000" dirty="0">
              <a:solidFill>
                <a:schemeClr val="tx1"/>
              </a:solidFill>
            </a:rPr>
            <a:t>Africa </a:t>
          </a:r>
          <a:r>
            <a:rPr lang="pt-PT" sz="1000" dirty="0" err="1">
              <a:solidFill>
                <a:schemeClr val="tx1"/>
              </a:solidFill>
            </a:rPr>
            <a:t>Renewable</a:t>
          </a:r>
          <a:r>
            <a:rPr lang="pt-PT" sz="1000" dirty="0">
              <a:solidFill>
                <a:schemeClr val="tx1"/>
              </a:solidFill>
            </a:rPr>
            <a:t> </a:t>
          </a:r>
          <a:r>
            <a:rPr lang="pt-PT" sz="1000" dirty="0" err="1">
              <a:solidFill>
                <a:schemeClr val="tx1"/>
              </a:solidFill>
            </a:rPr>
            <a:t>Energy</a:t>
          </a:r>
          <a:r>
            <a:rPr lang="pt-PT" sz="1000" dirty="0">
              <a:solidFill>
                <a:schemeClr val="tx1"/>
              </a:solidFill>
            </a:rPr>
            <a:t> </a:t>
          </a:r>
          <a:r>
            <a:rPr lang="pt-PT" sz="1000" dirty="0" err="1">
              <a:solidFill>
                <a:schemeClr val="tx1"/>
              </a:solidFill>
            </a:rPr>
            <a:t>Fund</a:t>
          </a:r>
          <a:r>
            <a:rPr lang="pt-PT" sz="1000" dirty="0">
              <a:solidFill>
                <a:schemeClr val="tx1"/>
              </a:solidFill>
            </a:rPr>
            <a:t> (AREF)</a:t>
          </a:r>
        </a:p>
      </dgm:t>
    </dgm:pt>
    <dgm:pt modelId="{1F0F82E2-3F2A-48D0-A1D0-D738A6FEEA10}" type="parTrans" cxnId="{3F042458-E985-40F5-9F72-65DE753E0086}">
      <dgm:prSet/>
      <dgm:spPr/>
      <dgm:t>
        <a:bodyPr/>
        <a:lstStyle/>
        <a:p>
          <a:endParaRPr lang="pt-PT" sz="2400"/>
        </a:p>
      </dgm:t>
    </dgm:pt>
    <dgm:pt modelId="{FB2C7DCF-31D2-457B-898A-C5092199906F}" type="sibTrans" cxnId="{3F042458-E985-40F5-9F72-65DE753E0086}">
      <dgm:prSet/>
      <dgm:spPr/>
      <dgm:t>
        <a:bodyPr/>
        <a:lstStyle/>
        <a:p>
          <a:endParaRPr lang="pt-PT" sz="2400"/>
        </a:p>
      </dgm:t>
    </dgm:pt>
    <dgm:pt modelId="{099FFE65-13D1-446F-BD2E-431CF859E7DA}">
      <dgm:prSet phldrT="[Texto]" custT="1"/>
      <dgm:spPr>
        <a:noFill/>
        <a:ln>
          <a:noFill/>
        </a:ln>
        <a:effectLst/>
      </dgm:spPr>
      <dgm:t>
        <a:bodyPr/>
        <a:lstStyle/>
        <a:p>
          <a:pPr rtl="0"/>
          <a:r>
            <a:rPr lang="en-US" sz="1100" b="1" dirty="0">
              <a:solidFill>
                <a:schemeClr val="tx1"/>
              </a:solidFill>
              <a:effectLst/>
              <a:latin typeface="Calibri"/>
              <a:ea typeface="Cambria"/>
              <a:cs typeface="Times New Roman"/>
            </a:rPr>
            <a:t>USD 35.5 million</a:t>
          </a:r>
          <a:endParaRPr lang="pt-PT" sz="1100" b="1" dirty="0">
            <a:solidFill>
              <a:schemeClr val="tx1"/>
            </a:solidFill>
          </a:endParaRPr>
        </a:p>
      </dgm:t>
    </dgm:pt>
    <dgm:pt modelId="{30D17C5D-FC81-49EC-90AC-3F1A54F0056E}" type="parTrans" cxnId="{95F70891-ABC3-47F5-977B-4F06AEA51F51}">
      <dgm:prSet/>
      <dgm:spPr/>
      <dgm:t>
        <a:bodyPr/>
        <a:lstStyle/>
        <a:p>
          <a:endParaRPr lang="pt-PT" sz="2400"/>
        </a:p>
      </dgm:t>
    </dgm:pt>
    <dgm:pt modelId="{FCD6056F-4718-424D-A643-947236775C45}" type="sibTrans" cxnId="{95F70891-ABC3-47F5-977B-4F06AEA51F51}">
      <dgm:prSet/>
      <dgm:spPr/>
      <dgm:t>
        <a:bodyPr/>
        <a:lstStyle/>
        <a:p>
          <a:endParaRPr lang="pt-PT" sz="2400"/>
        </a:p>
      </dgm:t>
    </dgm:pt>
    <dgm:pt modelId="{74BAFF19-223E-477B-80BC-EFE233793502}">
      <dgm:prSet custT="1"/>
      <dgm:spPr>
        <a:solidFill>
          <a:srgbClr val="FFCE00"/>
        </a:solidFill>
      </dgm:spPr>
      <dgm:t>
        <a:bodyPr/>
        <a:lstStyle/>
        <a:p>
          <a:r>
            <a:rPr lang="pt-PT" sz="1400" b="1" dirty="0">
              <a:effectLst/>
              <a:latin typeface="Calibri"/>
              <a:ea typeface="Cambria"/>
              <a:cs typeface="Times New Roman"/>
            </a:rPr>
            <a:t>Component III – Enabling Environment</a:t>
          </a:r>
        </a:p>
      </dgm:t>
    </dgm:pt>
    <dgm:pt modelId="{415655BE-DCCF-4CD3-AAA2-B3B24855B458}" type="parTrans" cxnId="{22BD7F7A-B798-4845-B563-C5E3283D4C89}">
      <dgm:prSet/>
      <dgm:spPr/>
      <dgm:t>
        <a:bodyPr/>
        <a:lstStyle/>
        <a:p>
          <a:endParaRPr lang="pt-PT" sz="2400"/>
        </a:p>
      </dgm:t>
    </dgm:pt>
    <dgm:pt modelId="{AB75E677-AEB2-4C45-899F-1477C898EFBE}" type="sibTrans" cxnId="{22BD7F7A-B798-4845-B563-C5E3283D4C89}">
      <dgm:prSet/>
      <dgm:spPr/>
      <dgm:t>
        <a:bodyPr/>
        <a:lstStyle/>
        <a:p>
          <a:endParaRPr lang="pt-PT" sz="2400"/>
        </a:p>
      </dgm:t>
    </dgm:pt>
    <dgm:pt modelId="{AE144F16-F770-4675-A925-721EFC468C62}">
      <dgm:prSet custT="1"/>
      <dgm:spPr>
        <a:noFill/>
        <a:ln>
          <a:noFill/>
        </a:ln>
        <a:effectLst/>
      </dgm:spPr>
      <dgm:t>
        <a:bodyPr/>
        <a:lstStyle/>
        <a:p>
          <a:r>
            <a:rPr lang="pt-PT" sz="1050" b="1" dirty="0">
              <a:solidFill>
                <a:sysClr val="windowText" lastClr="000000"/>
              </a:solidFill>
            </a:rPr>
            <a:t>FINANCING INTRUMENT</a:t>
          </a:r>
        </a:p>
      </dgm:t>
    </dgm:pt>
    <dgm:pt modelId="{DF4BAA8F-670B-4EF8-B1BF-444618F12EB6}" type="parTrans" cxnId="{A3030046-CEB6-4CAC-88DB-1BC51AD2737B}">
      <dgm:prSet/>
      <dgm:spPr/>
      <dgm:t>
        <a:bodyPr/>
        <a:lstStyle/>
        <a:p>
          <a:endParaRPr lang="pt-PT" sz="2400"/>
        </a:p>
      </dgm:t>
    </dgm:pt>
    <dgm:pt modelId="{25C710BB-B5BE-4378-B527-AC766E00688B}" type="sibTrans" cxnId="{A3030046-CEB6-4CAC-88DB-1BC51AD2737B}">
      <dgm:prSet/>
      <dgm:spPr/>
      <dgm:t>
        <a:bodyPr/>
        <a:lstStyle/>
        <a:p>
          <a:endParaRPr lang="pt-PT" sz="2400"/>
        </a:p>
      </dgm:t>
    </dgm:pt>
    <dgm:pt modelId="{A24023C7-0773-486E-B1AF-C6A160CC0555}">
      <dgm:prSet custT="1"/>
      <dgm:spPr>
        <a:noFill/>
        <a:ln>
          <a:noFill/>
        </a:ln>
        <a:effectLst/>
      </dgm:spPr>
      <dgm:t>
        <a:bodyPr/>
        <a:lstStyle/>
        <a:p>
          <a:r>
            <a:rPr lang="pt-PT" sz="1000" b="1" dirty="0">
              <a:solidFill>
                <a:schemeClr val="tx1"/>
              </a:solidFill>
            </a:rPr>
            <a:t>MANAGEMENT</a:t>
          </a:r>
        </a:p>
      </dgm:t>
    </dgm:pt>
    <dgm:pt modelId="{8E595F13-A2A0-4DF7-BA2C-837B6C23F250}" type="parTrans" cxnId="{65F61811-8E31-443C-BE70-15626BB2167D}">
      <dgm:prSet/>
      <dgm:spPr/>
      <dgm:t>
        <a:bodyPr/>
        <a:lstStyle/>
        <a:p>
          <a:endParaRPr lang="pt-PT" sz="2400"/>
        </a:p>
      </dgm:t>
    </dgm:pt>
    <dgm:pt modelId="{B57C0709-293C-4B9B-B860-ED9EA57283E9}" type="sibTrans" cxnId="{65F61811-8E31-443C-BE70-15626BB2167D}">
      <dgm:prSet/>
      <dgm:spPr/>
      <dgm:t>
        <a:bodyPr/>
        <a:lstStyle/>
        <a:p>
          <a:endParaRPr lang="pt-PT" sz="2400"/>
        </a:p>
      </dgm:t>
    </dgm:pt>
    <dgm:pt modelId="{A15F6F9E-442F-45DA-9C00-98EE1AFBE285}">
      <dgm:prSet custT="1"/>
      <dgm:spPr>
        <a:noFill/>
        <a:ln>
          <a:noFill/>
        </a:ln>
        <a:effectLst/>
      </dgm:spPr>
      <dgm:t>
        <a:bodyPr/>
        <a:lstStyle/>
        <a:p>
          <a:r>
            <a:rPr lang="en-US" sz="1000" b="0" dirty="0">
              <a:solidFill>
                <a:sysClr val="windowText" lastClr="000000"/>
              </a:solidFill>
              <a:effectLst/>
              <a:latin typeface="Calibri"/>
              <a:ea typeface="Cambria"/>
              <a:cs typeface="Times New Roman"/>
            </a:rPr>
            <a:t>Grants up to USD 1 million</a:t>
          </a:r>
          <a:r>
            <a:rPr lang="en-US" sz="1000" b="0" baseline="0" dirty="0">
              <a:solidFill>
                <a:sysClr val="windowText" lastClr="000000"/>
              </a:solidFill>
              <a:effectLst/>
              <a:latin typeface="Calibri"/>
              <a:ea typeface="Cambria"/>
              <a:cs typeface="Times New Roman"/>
            </a:rPr>
            <a:t> </a:t>
          </a:r>
          <a:r>
            <a:rPr lang="en-US" sz="1000" b="0" dirty="0">
              <a:solidFill>
                <a:sysClr val="windowText" lastClr="000000"/>
              </a:solidFill>
              <a:effectLst/>
              <a:latin typeface="Calibri"/>
              <a:ea typeface="Cambria"/>
              <a:cs typeface="Times New Roman"/>
            </a:rPr>
            <a:t>to project developers</a:t>
          </a:r>
          <a:endParaRPr lang="pt-PT" sz="1000" dirty="0">
            <a:solidFill>
              <a:sysClr val="windowText" lastClr="000000"/>
            </a:solidFill>
          </a:endParaRPr>
        </a:p>
      </dgm:t>
    </dgm:pt>
    <dgm:pt modelId="{691CFF39-0542-4F3A-A984-2BB49246743D}" type="parTrans" cxnId="{4CE34674-4907-4E4B-96CB-8FF75C40EBA6}">
      <dgm:prSet/>
      <dgm:spPr/>
      <dgm:t>
        <a:bodyPr/>
        <a:lstStyle/>
        <a:p>
          <a:endParaRPr lang="pt-PT" sz="2400"/>
        </a:p>
      </dgm:t>
    </dgm:pt>
    <dgm:pt modelId="{143C27A7-7B97-4A7F-AB09-1D12055526BD}" type="sibTrans" cxnId="{4CE34674-4907-4E4B-96CB-8FF75C40EBA6}">
      <dgm:prSet/>
      <dgm:spPr/>
      <dgm:t>
        <a:bodyPr/>
        <a:lstStyle/>
        <a:p>
          <a:endParaRPr lang="pt-PT" sz="2400"/>
        </a:p>
      </dgm:t>
    </dgm:pt>
    <dgm:pt modelId="{2377CBF3-5CF0-44BD-81F1-442BF1C101AE}">
      <dgm:prSet custT="1"/>
      <dgm:spPr>
        <a:noFill/>
        <a:ln>
          <a:noFill/>
        </a:ln>
        <a:effectLst/>
      </dgm:spPr>
      <dgm:t>
        <a:bodyPr/>
        <a:lstStyle/>
        <a:p>
          <a:r>
            <a:rPr lang="en-US" sz="1000">
              <a:solidFill>
                <a:sysClr val="windowText" lastClr="000000"/>
              </a:solidFill>
              <a:effectLst/>
              <a:latin typeface="Calibri"/>
              <a:ea typeface="Cambria"/>
              <a:cs typeface="Times New Roman"/>
            </a:rPr>
            <a:t>Seed/growth capital for RE Projects</a:t>
          </a:r>
          <a:endParaRPr lang="pt-PT" sz="1000">
            <a:solidFill>
              <a:sysClr val="windowText" lastClr="000000"/>
            </a:solidFill>
          </a:endParaRPr>
        </a:p>
      </dgm:t>
    </dgm:pt>
    <dgm:pt modelId="{15CEA325-1A70-46E7-B8FA-29E6917536F8}" type="parTrans" cxnId="{305E751D-EED2-433E-8ADD-CA07D1A9DB01}">
      <dgm:prSet/>
      <dgm:spPr/>
      <dgm:t>
        <a:bodyPr/>
        <a:lstStyle/>
        <a:p>
          <a:endParaRPr lang="pt-PT" sz="2400"/>
        </a:p>
      </dgm:t>
    </dgm:pt>
    <dgm:pt modelId="{F10A40E0-667B-4C75-9FAA-F5308B32E70B}" type="sibTrans" cxnId="{305E751D-EED2-433E-8ADD-CA07D1A9DB01}">
      <dgm:prSet/>
      <dgm:spPr/>
      <dgm:t>
        <a:bodyPr/>
        <a:lstStyle/>
        <a:p>
          <a:endParaRPr lang="pt-PT" sz="2400"/>
        </a:p>
      </dgm:t>
    </dgm:pt>
    <dgm:pt modelId="{6C0B76A3-A3B8-4894-9616-89E8FD791A76}">
      <dgm:prSet custT="1"/>
      <dgm:spPr>
        <a:noFill/>
        <a:ln>
          <a:noFill/>
        </a:ln>
        <a:effectLst/>
      </dgm:spPr>
      <dgm:t>
        <a:bodyPr/>
        <a:lstStyle/>
        <a:p>
          <a:r>
            <a:rPr lang="en-US" sz="1000" dirty="0">
              <a:solidFill>
                <a:sysClr val="windowText" lastClr="000000"/>
              </a:solidFill>
              <a:effectLst/>
              <a:latin typeface="Calibri"/>
              <a:ea typeface="Cambria"/>
              <a:cs typeface="Times New Roman"/>
            </a:rPr>
            <a:t>Equity and TA through a Private Equity Fund </a:t>
          </a:r>
        </a:p>
      </dgm:t>
    </dgm:pt>
    <dgm:pt modelId="{BD3BDA63-7F98-449F-82F5-2D91A86F7C76}" type="parTrans" cxnId="{CBF5C903-5B59-4EB0-B241-A64C08DBEA91}">
      <dgm:prSet/>
      <dgm:spPr/>
      <dgm:t>
        <a:bodyPr/>
        <a:lstStyle/>
        <a:p>
          <a:endParaRPr lang="pt-PT" sz="2400"/>
        </a:p>
      </dgm:t>
    </dgm:pt>
    <dgm:pt modelId="{BFFEA865-CA49-441A-988B-59B667B04C8A}" type="sibTrans" cxnId="{CBF5C903-5B59-4EB0-B241-A64C08DBEA91}">
      <dgm:prSet/>
      <dgm:spPr/>
      <dgm:t>
        <a:bodyPr/>
        <a:lstStyle/>
        <a:p>
          <a:endParaRPr lang="pt-PT" sz="2400"/>
        </a:p>
      </dgm:t>
    </dgm:pt>
    <dgm:pt modelId="{40089FD5-48EE-4F3B-A845-15FD402A1F83}">
      <dgm:prSet custT="1"/>
      <dgm:spPr>
        <a:noFill/>
        <a:ln>
          <a:noFill/>
        </a:ln>
        <a:effectLst/>
      </dgm:spPr>
      <dgm:t>
        <a:bodyPr/>
        <a:lstStyle/>
        <a:p>
          <a:r>
            <a:rPr lang="en-US" sz="1000" dirty="0">
              <a:solidFill>
                <a:sysClr val="windowText" lastClr="000000"/>
              </a:solidFill>
              <a:effectLst/>
              <a:latin typeface="Calibri"/>
              <a:ea typeface="Cambria"/>
              <a:cs typeface="Times New Roman"/>
            </a:rPr>
            <a:t>Enabling environment for private investments</a:t>
          </a:r>
          <a:r>
            <a:rPr lang="en-US" sz="1000" baseline="0" dirty="0">
              <a:solidFill>
                <a:sysClr val="windowText" lastClr="000000"/>
              </a:solidFill>
              <a:effectLst/>
              <a:latin typeface="Calibri"/>
              <a:ea typeface="Cambria"/>
              <a:cs typeface="Times New Roman"/>
            </a:rPr>
            <a:t> in RE</a:t>
          </a:r>
          <a:endParaRPr lang="en-US" sz="1000" dirty="0">
            <a:solidFill>
              <a:sysClr val="windowText" lastClr="000000"/>
            </a:solidFill>
            <a:effectLst/>
            <a:latin typeface="Cambria"/>
            <a:ea typeface="Cambria"/>
            <a:cs typeface="Times New Roman"/>
          </a:endParaRPr>
        </a:p>
      </dgm:t>
    </dgm:pt>
    <dgm:pt modelId="{4C7485AB-D036-4281-8567-806BFCDEAAD8}" type="parTrans" cxnId="{3F6F8EB0-6A5D-4038-B579-57316E41E260}">
      <dgm:prSet/>
      <dgm:spPr/>
      <dgm:t>
        <a:bodyPr/>
        <a:lstStyle/>
        <a:p>
          <a:endParaRPr lang="pt-PT" sz="2400"/>
        </a:p>
      </dgm:t>
    </dgm:pt>
    <dgm:pt modelId="{A78EC883-171E-429F-A8A8-FAF899AE3A6F}" type="sibTrans" cxnId="{3F6F8EB0-6A5D-4038-B579-57316E41E260}">
      <dgm:prSet/>
      <dgm:spPr/>
      <dgm:t>
        <a:bodyPr/>
        <a:lstStyle/>
        <a:p>
          <a:endParaRPr lang="pt-PT" sz="2400"/>
        </a:p>
      </dgm:t>
    </dgm:pt>
    <dgm:pt modelId="{D09C1BC2-8A07-4DA9-ACE5-D750860D2875}">
      <dgm:prSet custT="1"/>
      <dgm:spPr>
        <a:noFill/>
        <a:ln>
          <a:noFill/>
        </a:ln>
        <a:effectLst/>
      </dgm:spPr>
      <dgm:t>
        <a:bodyPr/>
        <a:lstStyle/>
        <a:p>
          <a:r>
            <a:rPr lang="en-US" sz="1000">
              <a:solidFill>
                <a:sysClr val="windowText" lastClr="000000"/>
              </a:solidFill>
              <a:effectLst/>
              <a:latin typeface="Calibri"/>
              <a:ea typeface="Cambria"/>
              <a:cs typeface="Times New Roman"/>
            </a:rPr>
            <a:t>Grants for TA and capacity building of public actors</a:t>
          </a:r>
          <a:endParaRPr lang="en-US" sz="1000" dirty="0">
            <a:solidFill>
              <a:sysClr val="windowText" lastClr="000000"/>
            </a:solidFill>
            <a:effectLst/>
            <a:latin typeface="Cambria"/>
            <a:ea typeface="Cambria"/>
            <a:cs typeface="Times New Roman"/>
          </a:endParaRPr>
        </a:p>
      </dgm:t>
    </dgm:pt>
    <dgm:pt modelId="{CAD875D9-6AA4-4574-A014-92C73BDEDA75}" type="parTrans" cxnId="{C9D5E7A5-3A91-4384-AFA6-F397B75ED582}">
      <dgm:prSet/>
      <dgm:spPr/>
      <dgm:t>
        <a:bodyPr/>
        <a:lstStyle/>
        <a:p>
          <a:endParaRPr lang="pt-PT" sz="2400"/>
        </a:p>
      </dgm:t>
    </dgm:pt>
    <dgm:pt modelId="{F0FDD743-005C-4C2B-B285-B4FC74607C2B}" type="sibTrans" cxnId="{C9D5E7A5-3A91-4384-AFA6-F397B75ED582}">
      <dgm:prSet/>
      <dgm:spPr/>
      <dgm:t>
        <a:bodyPr/>
        <a:lstStyle/>
        <a:p>
          <a:endParaRPr lang="pt-PT" sz="2400"/>
        </a:p>
      </dgm:t>
    </dgm:pt>
    <dgm:pt modelId="{1F48B774-C253-4A6B-90F2-292718F79D00}">
      <dgm:prSet custT="1"/>
      <dgm:spPr>
        <a:noFill/>
        <a:ln>
          <a:noFill/>
        </a:ln>
        <a:effectLst/>
      </dgm:spPr>
      <dgm:t>
        <a:bodyPr/>
        <a:lstStyle/>
        <a:p>
          <a:r>
            <a:rPr lang="en-US" sz="1000" dirty="0">
              <a:solidFill>
                <a:schemeClr val="tx1"/>
              </a:solidFill>
              <a:effectLst/>
              <a:latin typeface="+mn-lt"/>
              <a:ea typeface="Cambria"/>
              <a:cs typeface="Times New Roman"/>
            </a:rPr>
            <a:t>SEFA &amp; Sustainable Energy for All</a:t>
          </a:r>
        </a:p>
      </dgm:t>
    </dgm:pt>
    <dgm:pt modelId="{96F32CA1-564B-4445-BC43-9F9670380A39}" type="parTrans" cxnId="{2B374F95-FC22-43AC-A6C7-2A7470889428}">
      <dgm:prSet/>
      <dgm:spPr/>
      <dgm:t>
        <a:bodyPr/>
        <a:lstStyle/>
        <a:p>
          <a:endParaRPr lang="pt-PT" sz="2400"/>
        </a:p>
      </dgm:t>
    </dgm:pt>
    <dgm:pt modelId="{7B7BD19C-ECBF-4721-8C97-8B47545C5B6A}" type="sibTrans" cxnId="{2B374F95-FC22-43AC-A6C7-2A7470889428}">
      <dgm:prSet/>
      <dgm:spPr/>
      <dgm:t>
        <a:bodyPr/>
        <a:lstStyle/>
        <a:p>
          <a:endParaRPr lang="pt-PT" sz="2400"/>
        </a:p>
      </dgm:t>
    </dgm:pt>
    <dgm:pt modelId="{953CA97C-1C49-426C-8442-8CB8818AB28C}">
      <dgm:prSet custT="1"/>
      <dgm:spPr>
        <a:noFill/>
        <a:ln>
          <a:noFill/>
        </a:ln>
        <a:effectLst/>
      </dgm:spPr>
      <dgm:t>
        <a:bodyPr/>
        <a:lstStyle/>
        <a:p>
          <a:pPr rtl="0"/>
          <a:r>
            <a:rPr lang="en-US" sz="1100" b="1" dirty="0">
              <a:solidFill>
                <a:schemeClr val="tx1"/>
              </a:solidFill>
              <a:effectLst/>
              <a:latin typeface="Calibri"/>
              <a:ea typeface="Cambria"/>
              <a:cs typeface="Times New Roman"/>
            </a:rPr>
            <a:t>USD 34.7 million</a:t>
          </a:r>
        </a:p>
      </dgm:t>
    </dgm:pt>
    <dgm:pt modelId="{785DC603-7EA5-4969-8C2D-D4C5CA62439B}" type="parTrans" cxnId="{BDC8605A-2518-409F-B1C6-37318CE55EC3}">
      <dgm:prSet/>
      <dgm:spPr/>
      <dgm:t>
        <a:bodyPr/>
        <a:lstStyle/>
        <a:p>
          <a:endParaRPr lang="pt-PT" sz="2400"/>
        </a:p>
      </dgm:t>
    </dgm:pt>
    <dgm:pt modelId="{237996EE-DC43-452A-98B1-2B352E02980C}" type="sibTrans" cxnId="{BDC8605A-2518-409F-B1C6-37318CE55EC3}">
      <dgm:prSet/>
      <dgm:spPr/>
      <dgm:t>
        <a:bodyPr/>
        <a:lstStyle/>
        <a:p>
          <a:endParaRPr lang="pt-PT" sz="2400"/>
        </a:p>
      </dgm:t>
    </dgm:pt>
    <dgm:pt modelId="{6259C85A-CE58-4C2A-897D-B096961FE2AC}">
      <dgm:prSet custT="1"/>
      <dgm:spPr>
        <a:noFill/>
        <a:ln>
          <a:noFill/>
        </a:ln>
        <a:effectLst/>
      </dgm:spPr>
      <dgm:t>
        <a:bodyPr/>
        <a:lstStyle/>
        <a:p>
          <a:pPr rtl="0"/>
          <a:r>
            <a:rPr lang="en-US" sz="1100" b="0" dirty="0">
              <a:solidFill>
                <a:schemeClr val="tx1"/>
              </a:solidFill>
              <a:effectLst/>
              <a:latin typeface="Calibri"/>
              <a:ea typeface="Cambria"/>
              <a:cs typeface="Times New Roman"/>
            </a:rPr>
            <a:t>SEFA</a:t>
          </a:r>
        </a:p>
      </dgm:t>
    </dgm:pt>
    <dgm:pt modelId="{FCFC1DC9-BAB0-46BE-8F1E-E2740AD4C4F2}" type="sibTrans" cxnId="{DB629AA5-53B3-457F-95FD-E8FBFF7466BA}">
      <dgm:prSet/>
      <dgm:spPr/>
      <dgm:t>
        <a:bodyPr/>
        <a:lstStyle/>
        <a:p>
          <a:endParaRPr lang="pt-PT" sz="2400"/>
        </a:p>
      </dgm:t>
    </dgm:pt>
    <dgm:pt modelId="{D6DC0175-7CE7-483B-85E9-AF90B8F4B322}" type="parTrans" cxnId="{DB629AA5-53B3-457F-95FD-E8FBFF7466BA}">
      <dgm:prSet/>
      <dgm:spPr/>
      <dgm:t>
        <a:bodyPr/>
        <a:lstStyle/>
        <a:p>
          <a:endParaRPr lang="pt-PT" sz="2400"/>
        </a:p>
      </dgm:t>
    </dgm:pt>
    <dgm:pt modelId="{6A135C79-267E-40B3-9E8F-23DD5699F0AC}" type="pres">
      <dgm:prSet presAssocID="{A7F451A7-8513-4CDA-8CD8-1544329BDEEA}" presName="theList" presStyleCnt="0">
        <dgm:presLayoutVars>
          <dgm:dir/>
          <dgm:animLvl val="lvl"/>
          <dgm:resizeHandles val="exact"/>
        </dgm:presLayoutVars>
      </dgm:prSet>
      <dgm:spPr/>
      <dgm:t>
        <a:bodyPr/>
        <a:lstStyle/>
        <a:p>
          <a:endParaRPr lang="en-US"/>
        </a:p>
      </dgm:t>
    </dgm:pt>
    <dgm:pt modelId="{D73EA4AA-739A-451F-A293-D6AD569CBF13}" type="pres">
      <dgm:prSet presAssocID="{9BBF598A-5593-4357-9936-676850BA47B0}" presName="compNode" presStyleCnt="0"/>
      <dgm:spPr/>
    </dgm:pt>
    <dgm:pt modelId="{7F69453C-39BA-45B5-9158-65591A53ABDD}" type="pres">
      <dgm:prSet presAssocID="{9BBF598A-5593-4357-9936-676850BA47B0}" presName="aNode" presStyleLbl="bgShp" presStyleIdx="0" presStyleCnt="4" custScaleX="66981"/>
      <dgm:spPr>
        <a:prstGeom prst="rect">
          <a:avLst/>
        </a:prstGeom>
      </dgm:spPr>
      <dgm:t>
        <a:bodyPr/>
        <a:lstStyle/>
        <a:p>
          <a:endParaRPr lang="en-US"/>
        </a:p>
      </dgm:t>
    </dgm:pt>
    <dgm:pt modelId="{44544C98-81BB-43B0-9401-329D363ACEB6}" type="pres">
      <dgm:prSet presAssocID="{9BBF598A-5593-4357-9936-676850BA47B0}" presName="textNode" presStyleLbl="bgShp" presStyleIdx="0" presStyleCnt="4"/>
      <dgm:spPr/>
      <dgm:t>
        <a:bodyPr/>
        <a:lstStyle/>
        <a:p>
          <a:endParaRPr lang="en-US"/>
        </a:p>
      </dgm:t>
    </dgm:pt>
    <dgm:pt modelId="{15F6D0DE-AFB9-4618-952A-5A9702123511}" type="pres">
      <dgm:prSet presAssocID="{9BBF598A-5593-4357-9936-676850BA47B0}" presName="compChildNode" presStyleCnt="0"/>
      <dgm:spPr/>
    </dgm:pt>
    <dgm:pt modelId="{8A4D5B54-71E3-4D48-A795-BCB6A602623D}" type="pres">
      <dgm:prSet presAssocID="{9BBF598A-5593-4357-9936-676850BA47B0}" presName="theInnerList" presStyleCnt="0"/>
      <dgm:spPr/>
    </dgm:pt>
    <dgm:pt modelId="{C8D3DC31-EEEF-4F1F-8D53-2A27478EE608}" type="pres">
      <dgm:prSet presAssocID="{39C4AD68-EED4-49E3-8E43-9251AB0552C6}" presName="childNode" presStyleLbl="node1" presStyleIdx="0" presStyleCnt="16">
        <dgm:presLayoutVars>
          <dgm:bulletEnabled val="1"/>
        </dgm:presLayoutVars>
      </dgm:prSet>
      <dgm:spPr>
        <a:prstGeom prst="ellipse">
          <a:avLst/>
        </a:prstGeom>
      </dgm:spPr>
      <dgm:t>
        <a:bodyPr/>
        <a:lstStyle/>
        <a:p>
          <a:endParaRPr lang="en-US"/>
        </a:p>
      </dgm:t>
    </dgm:pt>
    <dgm:pt modelId="{DFBED97B-3718-4275-863F-47709FF0B1A3}" type="pres">
      <dgm:prSet presAssocID="{39C4AD68-EED4-49E3-8E43-9251AB0552C6}" presName="aSpace2" presStyleCnt="0"/>
      <dgm:spPr/>
    </dgm:pt>
    <dgm:pt modelId="{5B118621-0408-469D-8C93-C1866718BF3C}" type="pres">
      <dgm:prSet presAssocID="{AE144F16-F770-4675-A925-721EFC468C62}" presName="childNode" presStyleLbl="node1" presStyleIdx="1" presStyleCnt="16">
        <dgm:presLayoutVars>
          <dgm:bulletEnabled val="1"/>
        </dgm:presLayoutVars>
      </dgm:prSet>
      <dgm:spPr>
        <a:prstGeom prst="ellipse">
          <a:avLst/>
        </a:prstGeom>
      </dgm:spPr>
      <dgm:t>
        <a:bodyPr/>
        <a:lstStyle/>
        <a:p>
          <a:endParaRPr lang="en-US"/>
        </a:p>
      </dgm:t>
    </dgm:pt>
    <dgm:pt modelId="{54E64786-9B9F-4CFC-B071-80E7BC85E8BE}" type="pres">
      <dgm:prSet presAssocID="{AE144F16-F770-4675-A925-721EFC468C62}" presName="aSpace2" presStyleCnt="0"/>
      <dgm:spPr/>
    </dgm:pt>
    <dgm:pt modelId="{3CC0BC77-04AA-4B39-848A-1FED189B501F}" type="pres">
      <dgm:prSet presAssocID="{A24023C7-0773-486E-B1AF-C6A160CC0555}" presName="childNode" presStyleLbl="node1" presStyleIdx="2" presStyleCnt="16" custScaleX="109816">
        <dgm:presLayoutVars>
          <dgm:bulletEnabled val="1"/>
        </dgm:presLayoutVars>
      </dgm:prSet>
      <dgm:spPr>
        <a:prstGeom prst="ellipse">
          <a:avLst/>
        </a:prstGeom>
      </dgm:spPr>
      <dgm:t>
        <a:bodyPr/>
        <a:lstStyle/>
        <a:p>
          <a:endParaRPr lang="en-US"/>
        </a:p>
      </dgm:t>
    </dgm:pt>
    <dgm:pt modelId="{8B65712D-23AD-4F70-8394-2B545C129E5C}" type="pres">
      <dgm:prSet presAssocID="{A24023C7-0773-486E-B1AF-C6A160CC0555}" presName="aSpace2" presStyleCnt="0"/>
      <dgm:spPr/>
    </dgm:pt>
    <dgm:pt modelId="{60E8C8AF-DD37-4D6B-ADB2-95474C202C28}" type="pres">
      <dgm:prSet presAssocID="{AA5831C9-DCCF-4E93-809B-506A4235EF3C}" presName="childNode" presStyleLbl="node1" presStyleIdx="3" presStyleCnt="16">
        <dgm:presLayoutVars>
          <dgm:bulletEnabled val="1"/>
        </dgm:presLayoutVars>
      </dgm:prSet>
      <dgm:spPr>
        <a:prstGeom prst="ellipse">
          <a:avLst/>
        </a:prstGeom>
      </dgm:spPr>
      <dgm:t>
        <a:bodyPr/>
        <a:lstStyle/>
        <a:p>
          <a:endParaRPr lang="en-US"/>
        </a:p>
      </dgm:t>
    </dgm:pt>
    <dgm:pt modelId="{619CC0C7-5E16-408A-BEC5-C55B1479D66E}" type="pres">
      <dgm:prSet presAssocID="{9BBF598A-5593-4357-9936-676850BA47B0}" presName="aSpace" presStyleCnt="0"/>
      <dgm:spPr/>
    </dgm:pt>
    <dgm:pt modelId="{46213FC8-8026-479D-82F3-C2DC584C1FDB}" type="pres">
      <dgm:prSet presAssocID="{A58D882C-21D7-4198-9304-726CF267AAEF}" presName="compNode" presStyleCnt="0"/>
      <dgm:spPr/>
    </dgm:pt>
    <dgm:pt modelId="{F9105BB7-588F-4B7D-B85C-6AEF344B7449}" type="pres">
      <dgm:prSet presAssocID="{A58D882C-21D7-4198-9304-726CF267AAEF}" presName="aNode" presStyleLbl="bgShp" presStyleIdx="1" presStyleCnt="4"/>
      <dgm:spPr>
        <a:prstGeom prst="rect">
          <a:avLst/>
        </a:prstGeom>
      </dgm:spPr>
      <dgm:t>
        <a:bodyPr/>
        <a:lstStyle/>
        <a:p>
          <a:endParaRPr lang="en-US"/>
        </a:p>
      </dgm:t>
    </dgm:pt>
    <dgm:pt modelId="{EE55DD18-F4D4-42F8-A1BD-F7B126B51AA1}" type="pres">
      <dgm:prSet presAssocID="{A58D882C-21D7-4198-9304-726CF267AAEF}" presName="textNode" presStyleLbl="bgShp" presStyleIdx="1" presStyleCnt="4"/>
      <dgm:spPr/>
      <dgm:t>
        <a:bodyPr/>
        <a:lstStyle/>
        <a:p>
          <a:endParaRPr lang="en-US"/>
        </a:p>
      </dgm:t>
    </dgm:pt>
    <dgm:pt modelId="{5B020E8D-F4B6-450C-BE31-C56A62DB5560}" type="pres">
      <dgm:prSet presAssocID="{A58D882C-21D7-4198-9304-726CF267AAEF}" presName="compChildNode" presStyleCnt="0"/>
      <dgm:spPr/>
    </dgm:pt>
    <dgm:pt modelId="{587119E4-1717-4C8F-B065-3E75D42964BE}" type="pres">
      <dgm:prSet presAssocID="{A58D882C-21D7-4198-9304-726CF267AAEF}" presName="theInnerList" presStyleCnt="0"/>
      <dgm:spPr/>
    </dgm:pt>
    <dgm:pt modelId="{A8E4212F-8C82-45A6-9FE9-CD7451E21FBB}" type="pres">
      <dgm:prSet presAssocID="{4D3AFFF9-8DB0-4EA0-871A-8AB6CD8A9DBF}" presName="childNode" presStyleLbl="node1" presStyleIdx="4" presStyleCnt="16">
        <dgm:presLayoutVars>
          <dgm:bulletEnabled val="1"/>
        </dgm:presLayoutVars>
      </dgm:prSet>
      <dgm:spPr>
        <a:prstGeom prst="rect">
          <a:avLst/>
        </a:prstGeom>
      </dgm:spPr>
      <dgm:t>
        <a:bodyPr/>
        <a:lstStyle/>
        <a:p>
          <a:endParaRPr lang="en-US"/>
        </a:p>
      </dgm:t>
    </dgm:pt>
    <dgm:pt modelId="{D6C57CFC-02FA-4935-BBFF-1F084D8ACEF6}" type="pres">
      <dgm:prSet presAssocID="{4D3AFFF9-8DB0-4EA0-871A-8AB6CD8A9DBF}" presName="aSpace2" presStyleCnt="0"/>
      <dgm:spPr/>
    </dgm:pt>
    <dgm:pt modelId="{6EB8E042-3DAF-4B20-81D1-3EEE82F52592}" type="pres">
      <dgm:prSet presAssocID="{A15F6F9E-442F-45DA-9C00-98EE1AFBE285}" presName="childNode" presStyleLbl="node1" presStyleIdx="5" presStyleCnt="16">
        <dgm:presLayoutVars>
          <dgm:bulletEnabled val="1"/>
        </dgm:presLayoutVars>
      </dgm:prSet>
      <dgm:spPr/>
      <dgm:t>
        <a:bodyPr/>
        <a:lstStyle/>
        <a:p>
          <a:endParaRPr lang="en-US"/>
        </a:p>
      </dgm:t>
    </dgm:pt>
    <dgm:pt modelId="{36E74231-D510-4FFB-8583-6AE5802A78E2}" type="pres">
      <dgm:prSet presAssocID="{A15F6F9E-442F-45DA-9C00-98EE1AFBE285}" presName="aSpace2" presStyleCnt="0"/>
      <dgm:spPr/>
    </dgm:pt>
    <dgm:pt modelId="{B4B9DEB7-4D6F-4645-96ED-BF9E05BC5998}" type="pres">
      <dgm:prSet presAssocID="{6259C85A-CE58-4C2A-897D-B096961FE2AC}" presName="childNode" presStyleLbl="node1" presStyleIdx="6" presStyleCnt="16">
        <dgm:presLayoutVars>
          <dgm:bulletEnabled val="1"/>
        </dgm:presLayoutVars>
      </dgm:prSet>
      <dgm:spPr/>
      <dgm:t>
        <a:bodyPr/>
        <a:lstStyle/>
        <a:p>
          <a:endParaRPr lang="en-US"/>
        </a:p>
      </dgm:t>
    </dgm:pt>
    <dgm:pt modelId="{7E18A7E7-89F7-4C01-A028-78646B4DAEAB}" type="pres">
      <dgm:prSet presAssocID="{6259C85A-CE58-4C2A-897D-B096961FE2AC}" presName="aSpace2" presStyleCnt="0"/>
      <dgm:spPr/>
    </dgm:pt>
    <dgm:pt modelId="{A477EF64-DFE2-4DFE-A158-BC00ED973035}" type="pres">
      <dgm:prSet presAssocID="{032E4C7F-08D0-4889-B47B-BF58965A4E88}" presName="childNode" presStyleLbl="node1" presStyleIdx="7" presStyleCnt="16">
        <dgm:presLayoutVars>
          <dgm:bulletEnabled val="1"/>
        </dgm:presLayoutVars>
      </dgm:prSet>
      <dgm:spPr/>
      <dgm:t>
        <a:bodyPr/>
        <a:lstStyle/>
        <a:p>
          <a:endParaRPr lang="en-US"/>
        </a:p>
      </dgm:t>
    </dgm:pt>
    <dgm:pt modelId="{1C4C1355-6D3B-4069-ABD8-44D3A3D5D08E}" type="pres">
      <dgm:prSet presAssocID="{A58D882C-21D7-4198-9304-726CF267AAEF}" presName="aSpace" presStyleCnt="0"/>
      <dgm:spPr/>
    </dgm:pt>
    <dgm:pt modelId="{4A6CB824-5C70-4329-8EF7-5955458F8F79}" type="pres">
      <dgm:prSet presAssocID="{5BE0DF04-7C9F-4763-854A-8CEEC8B03E9A}" presName="compNode" presStyleCnt="0"/>
      <dgm:spPr/>
    </dgm:pt>
    <dgm:pt modelId="{4778F0FD-8F7D-4C39-9982-E08CD439102B}" type="pres">
      <dgm:prSet presAssocID="{5BE0DF04-7C9F-4763-854A-8CEEC8B03E9A}" presName="aNode" presStyleLbl="bgShp" presStyleIdx="2" presStyleCnt="4"/>
      <dgm:spPr>
        <a:prstGeom prst="rect">
          <a:avLst/>
        </a:prstGeom>
      </dgm:spPr>
      <dgm:t>
        <a:bodyPr/>
        <a:lstStyle/>
        <a:p>
          <a:endParaRPr lang="en-US"/>
        </a:p>
      </dgm:t>
    </dgm:pt>
    <dgm:pt modelId="{AB815BA0-A756-42B1-8514-0889CD9E8466}" type="pres">
      <dgm:prSet presAssocID="{5BE0DF04-7C9F-4763-854A-8CEEC8B03E9A}" presName="textNode" presStyleLbl="bgShp" presStyleIdx="2" presStyleCnt="4"/>
      <dgm:spPr/>
      <dgm:t>
        <a:bodyPr/>
        <a:lstStyle/>
        <a:p>
          <a:endParaRPr lang="en-US"/>
        </a:p>
      </dgm:t>
    </dgm:pt>
    <dgm:pt modelId="{F991ED2C-6FBA-4FC4-BC8B-CA09A3538E03}" type="pres">
      <dgm:prSet presAssocID="{5BE0DF04-7C9F-4763-854A-8CEEC8B03E9A}" presName="compChildNode" presStyleCnt="0"/>
      <dgm:spPr/>
    </dgm:pt>
    <dgm:pt modelId="{4966D383-3A8F-425B-903D-F5BA11AB2235}" type="pres">
      <dgm:prSet presAssocID="{5BE0DF04-7C9F-4763-854A-8CEEC8B03E9A}" presName="theInnerList" presStyleCnt="0"/>
      <dgm:spPr/>
    </dgm:pt>
    <dgm:pt modelId="{0C3B9BA6-B6C5-422B-83B1-BE92477856F9}" type="pres">
      <dgm:prSet presAssocID="{2377CBF3-5CF0-44BD-81F1-442BF1C101AE}" presName="childNode" presStyleLbl="node1" presStyleIdx="8" presStyleCnt="16">
        <dgm:presLayoutVars>
          <dgm:bulletEnabled val="1"/>
        </dgm:presLayoutVars>
      </dgm:prSet>
      <dgm:spPr>
        <a:prstGeom prst="rect">
          <a:avLst/>
        </a:prstGeom>
      </dgm:spPr>
      <dgm:t>
        <a:bodyPr/>
        <a:lstStyle/>
        <a:p>
          <a:endParaRPr lang="en-US"/>
        </a:p>
      </dgm:t>
    </dgm:pt>
    <dgm:pt modelId="{917A4EB0-6BA5-488C-94C4-C1FAE6AED754}" type="pres">
      <dgm:prSet presAssocID="{2377CBF3-5CF0-44BD-81F1-442BF1C101AE}" presName="aSpace2" presStyleCnt="0"/>
      <dgm:spPr/>
    </dgm:pt>
    <dgm:pt modelId="{8A5FCD94-178F-4A90-9CD8-618591DBA3A9}" type="pres">
      <dgm:prSet presAssocID="{6C0B76A3-A3B8-4894-9616-89E8FD791A76}" presName="childNode" presStyleLbl="node1" presStyleIdx="9" presStyleCnt="16">
        <dgm:presLayoutVars>
          <dgm:bulletEnabled val="1"/>
        </dgm:presLayoutVars>
      </dgm:prSet>
      <dgm:spPr/>
      <dgm:t>
        <a:bodyPr/>
        <a:lstStyle/>
        <a:p>
          <a:endParaRPr lang="en-US"/>
        </a:p>
      </dgm:t>
    </dgm:pt>
    <dgm:pt modelId="{1494B6C8-8ABD-4393-BD94-ED9656E8FBDA}" type="pres">
      <dgm:prSet presAssocID="{6C0B76A3-A3B8-4894-9616-89E8FD791A76}" presName="aSpace2" presStyleCnt="0"/>
      <dgm:spPr/>
    </dgm:pt>
    <dgm:pt modelId="{79D50AF1-4FB2-4EEC-AA6F-4ACD4E75A8A7}" type="pres">
      <dgm:prSet presAssocID="{35B17157-BEFE-4E63-BF87-A0862AC983D3}" presName="childNode" presStyleLbl="node1" presStyleIdx="10" presStyleCnt="16">
        <dgm:presLayoutVars>
          <dgm:bulletEnabled val="1"/>
        </dgm:presLayoutVars>
      </dgm:prSet>
      <dgm:spPr/>
      <dgm:t>
        <a:bodyPr/>
        <a:lstStyle/>
        <a:p>
          <a:endParaRPr lang="en-US"/>
        </a:p>
      </dgm:t>
    </dgm:pt>
    <dgm:pt modelId="{B916261C-0B68-4D5B-B5A4-2DDAC2869AA2}" type="pres">
      <dgm:prSet presAssocID="{35B17157-BEFE-4E63-BF87-A0862AC983D3}" presName="aSpace2" presStyleCnt="0"/>
      <dgm:spPr/>
    </dgm:pt>
    <dgm:pt modelId="{B2C29ABC-92B1-4134-9746-D425368E609F}" type="pres">
      <dgm:prSet presAssocID="{099FFE65-13D1-446F-BD2E-431CF859E7DA}" presName="childNode" presStyleLbl="node1" presStyleIdx="11" presStyleCnt="16">
        <dgm:presLayoutVars>
          <dgm:bulletEnabled val="1"/>
        </dgm:presLayoutVars>
      </dgm:prSet>
      <dgm:spPr/>
      <dgm:t>
        <a:bodyPr/>
        <a:lstStyle/>
        <a:p>
          <a:endParaRPr lang="en-US"/>
        </a:p>
      </dgm:t>
    </dgm:pt>
    <dgm:pt modelId="{C5FCD349-6475-4474-9435-0C64DFF7E352}" type="pres">
      <dgm:prSet presAssocID="{5BE0DF04-7C9F-4763-854A-8CEEC8B03E9A}" presName="aSpace" presStyleCnt="0"/>
      <dgm:spPr/>
    </dgm:pt>
    <dgm:pt modelId="{8A89AA74-7196-452C-9801-87EB58283B01}" type="pres">
      <dgm:prSet presAssocID="{74BAFF19-223E-477B-80BC-EFE233793502}" presName="compNode" presStyleCnt="0"/>
      <dgm:spPr/>
    </dgm:pt>
    <dgm:pt modelId="{34E98BB0-2E38-4677-BCBE-9B2028CCC98E}" type="pres">
      <dgm:prSet presAssocID="{74BAFF19-223E-477B-80BC-EFE233793502}" presName="aNode" presStyleLbl="bgShp" presStyleIdx="3" presStyleCnt="4"/>
      <dgm:spPr>
        <a:prstGeom prst="rect">
          <a:avLst/>
        </a:prstGeom>
      </dgm:spPr>
      <dgm:t>
        <a:bodyPr/>
        <a:lstStyle/>
        <a:p>
          <a:endParaRPr lang="en-US"/>
        </a:p>
      </dgm:t>
    </dgm:pt>
    <dgm:pt modelId="{DFCDEC80-310F-47F0-B522-60DB8083EAD2}" type="pres">
      <dgm:prSet presAssocID="{74BAFF19-223E-477B-80BC-EFE233793502}" presName="textNode" presStyleLbl="bgShp" presStyleIdx="3" presStyleCnt="4"/>
      <dgm:spPr>
        <a:prstGeom prst="rect">
          <a:avLst/>
        </a:prstGeom>
      </dgm:spPr>
      <dgm:t>
        <a:bodyPr/>
        <a:lstStyle/>
        <a:p>
          <a:endParaRPr lang="en-US"/>
        </a:p>
      </dgm:t>
    </dgm:pt>
    <dgm:pt modelId="{E7D81ECD-D144-42F6-BEAB-1CDEEE58DF9F}" type="pres">
      <dgm:prSet presAssocID="{74BAFF19-223E-477B-80BC-EFE233793502}" presName="compChildNode" presStyleCnt="0"/>
      <dgm:spPr/>
    </dgm:pt>
    <dgm:pt modelId="{4500BF5C-DC05-45EB-88EE-649497A8E43F}" type="pres">
      <dgm:prSet presAssocID="{74BAFF19-223E-477B-80BC-EFE233793502}" presName="theInnerList" presStyleCnt="0"/>
      <dgm:spPr/>
    </dgm:pt>
    <dgm:pt modelId="{AB109E2B-119D-4C21-A696-9D13CDA458A9}" type="pres">
      <dgm:prSet presAssocID="{40089FD5-48EE-4F3B-A845-15FD402A1F83}" presName="childNode" presStyleLbl="node1" presStyleIdx="12" presStyleCnt="16">
        <dgm:presLayoutVars>
          <dgm:bulletEnabled val="1"/>
        </dgm:presLayoutVars>
      </dgm:prSet>
      <dgm:spPr>
        <a:prstGeom prst="rect">
          <a:avLst/>
        </a:prstGeom>
      </dgm:spPr>
      <dgm:t>
        <a:bodyPr/>
        <a:lstStyle/>
        <a:p>
          <a:endParaRPr lang="en-US"/>
        </a:p>
      </dgm:t>
    </dgm:pt>
    <dgm:pt modelId="{8968EADA-C931-4414-9D1B-4670DBF2B25D}" type="pres">
      <dgm:prSet presAssocID="{40089FD5-48EE-4F3B-A845-15FD402A1F83}" presName="aSpace2" presStyleCnt="0"/>
      <dgm:spPr/>
    </dgm:pt>
    <dgm:pt modelId="{F617F14F-4AED-4634-82F3-AFF376C33B57}" type="pres">
      <dgm:prSet presAssocID="{D09C1BC2-8A07-4DA9-ACE5-D750860D2875}" presName="childNode" presStyleLbl="node1" presStyleIdx="13" presStyleCnt="16">
        <dgm:presLayoutVars>
          <dgm:bulletEnabled val="1"/>
        </dgm:presLayoutVars>
      </dgm:prSet>
      <dgm:spPr/>
      <dgm:t>
        <a:bodyPr/>
        <a:lstStyle/>
        <a:p>
          <a:endParaRPr lang="en-US"/>
        </a:p>
      </dgm:t>
    </dgm:pt>
    <dgm:pt modelId="{834AA233-D9B1-4F39-B474-9369363AE0FC}" type="pres">
      <dgm:prSet presAssocID="{D09C1BC2-8A07-4DA9-ACE5-D750860D2875}" presName="aSpace2" presStyleCnt="0"/>
      <dgm:spPr/>
    </dgm:pt>
    <dgm:pt modelId="{409B6375-4BA3-4118-B899-AE3F27FBD038}" type="pres">
      <dgm:prSet presAssocID="{1F48B774-C253-4A6B-90F2-292718F79D00}" presName="childNode" presStyleLbl="node1" presStyleIdx="14" presStyleCnt="16">
        <dgm:presLayoutVars>
          <dgm:bulletEnabled val="1"/>
        </dgm:presLayoutVars>
      </dgm:prSet>
      <dgm:spPr/>
      <dgm:t>
        <a:bodyPr/>
        <a:lstStyle/>
        <a:p>
          <a:endParaRPr lang="en-US"/>
        </a:p>
      </dgm:t>
    </dgm:pt>
    <dgm:pt modelId="{0D317832-A6DC-4289-8C15-BEFB630270C6}" type="pres">
      <dgm:prSet presAssocID="{1F48B774-C253-4A6B-90F2-292718F79D00}" presName="aSpace2" presStyleCnt="0"/>
      <dgm:spPr/>
    </dgm:pt>
    <dgm:pt modelId="{6456F055-4A09-404B-987B-01E621BC2F9F}" type="pres">
      <dgm:prSet presAssocID="{953CA97C-1C49-426C-8442-8CB8818AB28C}" presName="childNode" presStyleLbl="node1" presStyleIdx="15" presStyleCnt="16">
        <dgm:presLayoutVars>
          <dgm:bulletEnabled val="1"/>
        </dgm:presLayoutVars>
      </dgm:prSet>
      <dgm:spPr/>
      <dgm:t>
        <a:bodyPr/>
        <a:lstStyle/>
        <a:p>
          <a:endParaRPr lang="en-US"/>
        </a:p>
      </dgm:t>
    </dgm:pt>
  </dgm:ptLst>
  <dgm:cxnLst>
    <dgm:cxn modelId="{13D7DF7D-9CF0-4278-B36E-5829A39BEB40}" type="presOf" srcId="{A24023C7-0773-486E-B1AF-C6A160CC0555}" destId="{3CC0BC77-04AA-4B39-848A-1FED189B501F}" srcOrd="0" destOrd="0" presId="urn:microsoft.com/office/officeart/2005/8/layout/lProcess2"/>
    <dgm:cxn modelId="{7FC45B56-A1E8-465D-A5A8-6608038BB788}" type="presOf" srcId="{74BAFF19-223E-477B-80BC-EFE233793502}" destId="{34E98BB0-2E38-4677-BCBE-9B2028CCC98E}" srcOrd="0" destOrd="0" presId="urn:microsoft.com/office/officeart/2005/8/layout/lProcess2"/>
    <dgm:cxn modelId="{4C56C89F-EC7F-4CD5-9D01-CA3EA147C107}" type="presOf" srcId="{39C4AD68-EED4-49E3-8E43-9251AB0552C6}" destId="{C8D3DC31-EEEF-4F1F-8D53-2A27478EE608}" srcOrd="0" destOrd="0" presId="urn:microsoft.com/office/officeart/2005/8/layout/lProcess2"/>
    <dgm:cxn modelId="{46C5A264-C75B-44DD-B1DE-5C99C755106E}" type="presOf" srcId="{A15F6F9E-442F-45DA-9C00-98EE1AFBE285}" destId="{6EB8E042-3DAF-4B20-81D1-3EEE82F52592}" srcOrd="0" destOrd="0" presId="urn:microsoft.com/office/officeart/2005/8/layout/lProcess2"/>
    <dgm:cxn modelId="{30D3F757-FC6E-41EC-8EB7-64C61DE12F36}" srcId="{A58D882C-21D7-4198-9304-726CF267AAEF}" destId="{4D3AFFF9-8DB0-4EA0-871A-8AB6CD8A9DBF}" srcOrd="0" destOrd="0" parTransId="{60C638D6-092F-429B-A1FE-7AF274D88297}" sibTransId="{6FD86D3A-0671-49F3-B0C5-71739E810B85}"/>
    <dgm:cxn modelId="{AAF5CD41-68BE-44E3-934A-C82A1E78DA1D}" type="presOf" srcId="{A58D882C-21D7-4198-9304-726CF267AAEF}" destId="{F9105BB7-588F-4B7D-B85C-6AEF344B7449}" srcOrd="0" destOrd="0" presId="urn:microsoft.com/office/officeart/2005/8/layout/lProcess2"/>
    <dgm:cxn modelId="{4043E5F6-A572-4D2C-94A7-A4518C5D02F9}" srcId="{A58D882C-21D7-4198-9304-726CF267AAEF}" destId="{032E4C7F-08D0-4889-B47B-BF58965A4E88}" srcOrd="3" destOrd="0" parTransId="{E6EAE173-F235-4A29-82C7-4CC33161834F}" sibTransId="{C48D32DA-65AA-4825-8849-287496313FB1}"/>
    <dgm:cxn modelId="{4CE34674-4907-4E4B-96CB-8FF75C40EBA6}" srcId="{A58D882C-21D7-4198-9304-726CF267AAEF}" destId="{A15F6F9E-442F-45DA-9C00-98EE1AFBE285}" srcOrd="1" destOrd="0" parTransId="{691CFF39-0542-4F3A-A984-2BB49246743D}" sibTransId="{143C27A7-7B97-4A7F-AB09-1D12055526BD}"/>
    <dgm:cxn modelId="{A3030046-CEB6-4CAC-88DB-1BC51AD2737B}" srcId="{9BBF598A-5593-4357-9936-676850BA47B0}" destId="{AE144F16-F770-4675-A925-721EFC468C62}" srcOrd="1" destOrd="0" parTransId="{DF4BAA8F-670B-4EF8-B1BF-444618F12EB6}" sibTransId="{25C710BB-B5BE-4378-B527-AC766E00688B}"/>
    <dgm:cxn modelId="{23C62933-F9F6-4E03-AFE7-565C5B56AC13}" type="presOf" srcId="{35B17157-BEFE-4E63-BF87-A0862AC983D3}" destId="{79D50AF1-4FB2-4EEC-AA6F-4ACD4E75A8A7}" srcOrd="0" destOrd="0" presId="urn:microsoft.com/office/officeart/2005/8/layout/lProcess2"/>
    <dgm:cxn modelId="{A76B8A91-5BA4-4654-AFBF-DE501B52DD95}" type="presOf" srcId="{A58D882C-21D7-4198-9304-726CF267AAEF}" destId="{EE55DD18-F4D4-42F8-A1BD-F7B126B51AA1}" srcOrd="1" destOrd="0" presId="urn:microsoft.com/office/officeart/2005/8/layout/lProcess2"/>
    <dgm:cxn modelId="{3F6F8EB0-6A5D-4038-B579-57316E41E260}" srcId="{74BAFF19-223E-477B-80BC-EFE233793502}" destId="{40089FD5-48EE-4F3B-A845-15FD402A1F83}" srcOrd="0" destOrd="0" parTransId="{4C7485AB-D036-4281-8567-806BFCDEAAD8}" sibTransId="{A78EC883-171E-429F-A8A8-FAF899AE3A6F}"/>
    <dgm:cxn modelId="{CBBEEA41-C9B5-49F1-8C68-4CB6761D7936}" type="presOf" srcId="{9BBF598A-5593-4357-9936-676850BA47B0}" destId="{7F69453C-39BA-45B5-9158-65591A53ABDD}" srcOrd="0" destOrd="0" presId="urn:microsoft.com/office/officeart/2005/8/layout/lProcess2"/>
    <dgm:cxn modelId="{D75F8895-2ECC-4A2B-81F4-4E3CE6E19B31}" type="presOf" srcId="{5BE0DF04-7C9F-4763-854A-8CEEC8B03E9A}" destId="{4778F0FD-8F7D-4C39-9982-E08CD439102B}" srcOrd="0" destOrd="0" presId="urn:microsoft.com/office/officeart/2005/8/layout/lProcess2"/>
    <dgm:cxn modelId="{C9D5E7A5-3A91-4384-AFA6-F397B75ED582}" srcId="{74BAFF19-223E-477B-80BC-EFE233793502}" destId="{D09C1BC2-8A07-4DA9-ACE5-D750860D2875}" srcOrd="1" destOrd="0" parTransId="{CAD875D9-6AA4-4574-A014-92C73BDEDA75}" sibTransId="{F0FDD743-005C-4C2B-B285-B4FC74607C2B}"/>
    <dgm:cxn modelId="{9E56E337-C86C-42A9-A93C-2E74F1B06F45}" type="presOf" srcId="{032E4C7F-08D0-4889-B47B-BF58965A4E88}" destId="{A477EF64-DFE2-4DFE-A158-BC00ED973035}" srcOrd="0" destOrd="0" presId="urn:microsoft.com/office/officeart/2005/8/layout/lProcess2"/>
    <dgm:cxn modelId="{3C796D79-7A1C-458B-80E7-8292D342A302}" type="presOf" srcId="{953CA97C-1C49-426C-8442-8CB8818AB28C}" destId="{6456F055-4A09-404B-987B-01E621BC2F9F}" srcOrd="0" destOrd="0" presId="urn:microsoft.com/office/officeart/2005/8/layout/lProcess2"/>
    <dgm:cxn modelId="{34F04C3E-6826-46B8-847A-698BF7F1BEE5}" type="presOf" srcId="{D09C1BC2-8A07-4DA9-ACE5-D750860D2875}" destId="{F617F14F-4AED-4634-82F3-AFF376C33B57}" srcOrd="0" destOrd="0" presId="urn:microsoft.com/office/officeart/2005/8/layout/lProcess2"/>
    <dgm:cxn modelId="{EF85971A-29C4-4590-AE9C-BA296F4D2912}" srcId="{A7F451A7-8513-4CDA-8CD8-1544329BDEEA}" destId="{5BE0DF04-7C9F-4763-854A-8CEEC8B03E9A}" srcOrd="2" destOrd="0" parTransId="{16DE4600-EC49-4C03-B704-BE65CD1A8848}" sibTransId="{D0C3CE7C-3F91-4676-8E5E-1D8A327D6CC6}"/>
    <dgm:cxn modelId="{E4E686F6-D773-4EE8-B8C3-1E1E81328EC6}" type="presOf" srcId="{6259C85A-CE58-4C2A-897D-B096961FE2AC}" destId="{B4B9DEB7-4D6F-4645-96ED-BF9E05BC5998}" srcOrd="0" destOrd="0" presId="urn:microsoft.com/office/officeart/2005/8/layout/lProcess2"/>
    <dgm:cxn modelId="{BDC8605A-2518-409F-B1C6-37318CE55EC3}" srcId="{74BAFF19-223E-477B-80BC-EFE233793502}" destId="{953CA97C-1C49-426C-8442-8CB8818AB28C}" srcOrd="3" destOrd="0" parTransId="{785DC603-7EA5-4969-8C2D-D4C5CA62439B}" sibTransId="{237996EE-DC43-452A-98B1-2B352E02980C}"/>
    <dgm:cxn modelId="{7F482EE8-FF78-40DD-B683-D93CE6DA5024}" type="presOf" srcId="{4D3AFFF9-8DB0-4EA0-871A-8AB6CD8A9DBF}" destId="{A8E4212F-8C82-45A6-9FE9-CD7451E21FBB}" srcOrd="0" destOrd="0" presId="urn:microsoft.com/office/officeart/2005/8/layout/lProcess2"/>
    <dgm:cxn modelId="{CBF5C903-5B59-4EB0-B241-A64C08DBEA91}" srcId="{5BE0DF04-7C9F-4763-854A-8CEEC8B03E9A}" destId="{6C0B76A3-A3B8-4894-9616-89E8FD791A76}" srcOrd="1" destOrd="0" parTransId="{BD3BDA63-7F98-449F-82F5-2D91A86F7C76}" sibTransId="{BFFEA865-CA49-441A-988B-59B667B04C8A}"/>
    <dgm:cxn modelId="{A3776C85-0883-4795-9280-5DCE93FE336F}" type="presOf" srcId="{099FFE65-13D1-446F-BD2E-431CF859E7DA}" destId="{B2C29ABC-92B1-4134-9746-D425368E609F}" srcOrd="0" destOrd="0" presId="urn:microsoft.com/office/officeart/2005/8/layout/lProcess2"/>
    <dgm:cxn modelId="{F154FD1D-20AA-4BDE-8C03-5158BFBA1E39}" type="presOf" srcId="{AE144F16-F770-4675-A925-721EFC468C62}" destId="{5B118621-0408-469D-8C93-C1866718BF3C}" srcOrd="0" destOrd="0" presId="urn:microsoft.com/office/officeart/2005/8/layout/lProcess2"/>
    <dgm:cxn modelId="{6F936C75-BD1C-41F2-9B8F-A2317B48A636}" type="presOf" srcId="{A7F451A7-8513-4CDA-8CD8-1544329BDEEA}" destId="{6A135C79-267E-40B3-9E8F-23DD5699F0AC}" srcOrd="0" destOrd="0" presId="urn:microsoft.com/office/officeart/2005/8/layout/lProcess2"/>
    <dgm:cxn modelId="{E43F06C9-4CFF-4F0B-8C5F-B504A71D9555}" type="presOf" srcId="{1F48B774-C253-4A6B-90F2-292718F79D00}" destId="{409B6375-4BA3-4118-B899-AE3F27FBD038}" srcOrd="0" destOrd="0" presId="urn:microsoft.com/office/officeart/2005/8/layout/lProcess2"/>
    <dgm:cxn modelId="{9B88A718-A312-48E5-9BBD-81336AD2D503}" type="presOf" srcId="{2377CBF3-5CF0-44BD-81F1-442BF1C101AE}" destId="{0C3B9BA6-B6C5-422B-83B1-BE92477856F9}" srcOrd="0" destOrd="0" presId="urn:microsoft.com/office/officeart/2005/8/layout/lProcess2"/>
    <dgm:cxn modelId="{C4B3B6AA-C649-4185-8C05-F91EBD31ACFC}" type="presOf" srcId="{5BE0DF04-7C9F-4763-854A-8CEEC8B03E9A}" destId="{AB815BA0-A756-42B1-8514-0889CD9E8466}" srcOrd="1" destOrd="0" presId="urn:microsoft.com/office/officeart/2005/8/layout/lProcess2"/>
    <dgm:cxn modelId="{305E751D-EED2-433E-8ADD-CA07D1A9DB01}" srcId="{5BE0DF04-7C9F-4763-854A-8CEEC8B03E9A}" destId="{2377CBF3-5CF0-44BD-81F1-442BF1C101AE}" srcOrd="0" destOrd="0" parTransId="{15CEA325-1A70-46E7-B8FA-29E6917536F8}" sibTransId="{F10A40E0-667B-4C75-9FAA-F5308B32E70B}"/>
    <dgm:cxn modelId="{F59DECD1-3B7F-42EB-B70F-6FFF8F25C17F}" srcId="{9BBF598A-5593-4357-9936-676850BA47B0}" destId="{39C4AD68-EED4-49E3-8E43-9251AB0552C6}" srcOrd="0" destOrd="0" parTransId="{BC5DCDC3-69DB-4FD4-B940-74FC974E9E1E}" sibTransId="{A8198A3B-BD03-4505-93D0-A3AF591C354A}"/>
    <dgm:cxn modelId="{05EF5508-492B-4A3D-BDA9-CC773BE30078}" srcId="{A7F451A7-8513-4CDA-8CD8-1544329BDEEA}" destId="{A58D882C-21D7-4198-9304-726CF267AAEF}" srcOrd="1" destOrd="0" parTransId="{7B92D337-E4CE-4A1E-B0D0-3AF097078E81}" sibTransId="{3F7A685D-FAB7-4F6E-A4CF-21D745CC13DC}"/>
    <dgm:cxn modelId="{65F61811-8E31-443C-BE70-15626BB2167D}" srcId="{9BBF598A-5593-4357-9936-676850BA47B0}" destId="{A24023C7-0773-486E-B1AF-C6A160CC0555}" srcOrd="2" destOrd="0" parTransId="{8E595F13-A2A0-4DF7-BA2C-837B6C23F250}" sibTransId="{B57C0709-293C-4B9B-B860-ED9EA57283E9}"/>
    <dgm:cxn modelId="{194CCE40-9801-4E50-8FBF-EA448A444637}" srcId="{9BBF598A-5593-4357-9936-676850BA47B0}" destId="{AA5831C9-DCCF-4E93-809B-506A4235EF3C}" srcOrd="3" destOrd="0" parTransId="{C623EA10-7764-424B-982F-08AABB2A3DFD}" sibTransId="{95C656A9-1753-4CC8-9295-FA53407C9B09}"/>
    <dgm:cxn modelId="{DB629AA5-53B3-457F-95FD-E8FBFF7466BA}" srcId="{A58D882C-21D7-4198-9304-726CF267AAEF}" destId="{6259C85A-CE58-4C2A-897D-B096961FE2AC}" srcOrd="2" destOrd="0" parTransId="{D6DC0175-7CE7-483B-85E9-AF90B8F4B322}" sibTransId="{FCFC1DC9-BAB0-46BE-8F1E-E2740AD4C4F2}"/>
    <dgm:cxn modelId="{198F4B36-B340-406B-9FB1-DC716C07682D}" type="presOf" srcId="{6C0B76A3-A3B8-4894-9616-89E8FD791A76}" destId="{8A5FCD94-178F-4A90-9CD8-618591DBA3A9}" srcOrd="0" destOrd="0" presId="urn:microsoft.com/office/officeart/2005/8/layout/lProcess2"/>
    <dgm:cxn modelId="{8481951D-42F0-40BD-9C36-EE7CD85EC5D5}" type="presOf" srcId="{AA5831C9-DCCF-4E93-809B-506A4235EF3C}" destId="{60E8C8AF-DD37-4D6B-ADB2-95474C202C28}" srcOrd="0" destOrd="0" presId="urn:microsoft.com/office/officeart/2005/8/layout/lProcess2"/>
    <dgm:cxn modelId="{95F70891-ABC3-47F5-977B-4F06AEA51F51}" srcId="{5BE0DF04-7C9F-4763-854A-8CEEC8B03E9A}" destId="{099FFE65-13D1-446F-BD2E-431CF859E7DA}" srcOrd="3" destOrd="0" parTransId="{30D17C5D-FC81-49EC-90AC-3F1A54F0056E}" sibTransId="{FCD6056F-4718-424D-A643-947236775C45}"/>
    <dgm:cxn modelId="{3F042458-E985-40F5-9F72-65DE753E0086}" srcId="{5BE0DF04-7C9F-4763-854A-8CEEC8B03E9A}" destId="{35B17157-BEFE-4E63-BF87-A0862AC983D3}" srcOrd="2" destOrd="0" parTransId="{1F0F82E2-3F2A-48D0-A1D0-D738A6FEEA10}" sibTransId="{FB2C7DCF-31D2-457B-898A-C5092199906F}"/>
    <dgm:cxn modelId="{2B374F95-FC22-43AC-A6C7-2A7470889428}" srcId="{74BAFF19-223E-477B-80BC-EFE233793502}" destId="{1F48B774-C253-4A6B-90F2-292718F79D00}" srcOrd="2" destOrd="0" parTransId="{96F32CA1-564B-4445-BC43-9F9670380A39}" sibTransId="{7B7BD19C-ECBF-4721-8C97-8B47545C5B6A}"/>
    <dgm:cxn modelId="{22BD7F7A-B798-4845-B563-C5E3283D4C89}" srcId="{A7F451A7-8513-4CDA-8CD8-1544329BDEEA}" destId="{74BAFF19-223E-477B-80BC-EFE233793502}" srcOrd="3" destOrd="0" parTransId="{415655BE-DCCF-4CD3-AAA2-B3B24855B458}" sibTransId="{AB75E677-AEB2-4C45-899F-1477C898EFBE}"/>
    <dgm:cxn modelId="{A8DB0667-6FAD-4237-AEE8-BBCA9DE0FBD5}" srcId="{A7F451A7-8513-4CDA-8CD8-1544329BDEEA}" destId="{9BBF598A-5593-4357-9936-676850BA47B0}" srcOrd="0" destOrd="0" parTransId="{57EE7F76-26DF-4385-8102-16CAC2C0407E}" sibTransId="{06F5C23F-F659-4E2D-B16A-F53927F2A52D}"/>
    <dgm:cxn modelId="{E42FE593-39BC-4202-AE15-B091A5AB6F69}" type="presOf" srcId="{40089FD5-48EE-4F3B-A845-15FD402A1F83}" destId="{AB109E2B-119D-4C21-A696-9D13CDA458A9}" srcOrd="0" destOrd="0" presId="urn:microsoft.com/office/officeart/2005/8/layout/lProcess2"/>
    <dgm:cxn modelId="{97317A10-1340-42A3-A07C-1EE28A2D2D3A}" type="presOf" srcId="{74BAFF19-223E-477B-80BC-EFE233793502}" destId="{DFCDEC80-310F-47F0-B522-60DB8083EAD2}" srcOrd="1" destOrd="0" presId="urn:microsoft.com/office/officeart/2005/8/layout/lProcess2"/>
    <dgm:cxn modelId="{1FB74C2F-A220-4AE5-96CF-143B29E48EAD}" type="presOf" srcId="{9BBF598A-5593-4357-9936-676850BA47B0}" destId="{44544C98-81BB-43B0-9401-329D363ACEB6}" srcOrd="1" destOrd="0" presId="urn:microsoft.com/office/officeart/2005/8/layout/lProcess2"/>
    <dgm:cxn modelId="{3170BC24-C0B4-47D6-BE86-A0269F70FF3A}" type="presParOf" srcId="{6A135C79-267E-40B3-9E8F-23DD5699F0AC}" destId="{D73EA4AA-739A-451F-A293-D6AD569CBF13}" srcOrd="0" destOrd="0" presId="urn:microsoft.com/office/officeart/2005/8/layout/lProcess2"/>
    <dgm:cxn modelId="{F4E94D16-B6C8-4ADC-8AC4-FB6B2DEAEBF7}" type="presParOf" srcId="{D73EA4AA-739A-451F-A293-D6AD569CBF13}" destId="{7F69453C-39BA-45B5-9158-65591A53ABDD}" srcOrd="0" destOrd="0" presId="urn:microsoft.com/office/officeart/2005/8/layout/lProcess2"/>
    <dgm:cxn modelId="{3EA37A4B-FAB3-41B6-B6C3-DB188F46FB11}" type="presParOf" srcId="{D73EA4AA-739A-451F-A293-D6AD569CBF13}" destId="{44544C98-81BB-43B0-9401-329D363ACEB6}" srcOrd="1" destOrd="0" presId="urn:microsoft.com/office/officeart/2005/8/layout/lProcess2"/>
    <dgm:cxn modelId="{0E06CA15-4411-4D42-9F99-5D26E780A545}" type="presParOf" srcId="{D73EA4AA-739A-451F-A293-D6AD569CBF13}" destId="{15F6D0DE-AFB9-4618-952A-5A9702123511}" srcOrd="2" destOrd="0" presId="urn:microsoft.com/office/officeart/2005/8/layout/lProcess2"/>
    <dgm:cxn modelId="{97E2892F-BCED-4F98-BFB2-1E71AB0D3CBD}" type="presParOf" srcId="{15F6D0DE-AFB9-4618-952A-5A9702123511}" destId="{8A4D5B54-71E3-4D48-A795-BCB6A602623D}" srcOrd="0" destOrd="0" presId="urn:microsoft.com/office/officeart/2005/8/layout/lProcess2"/>
    <dgm:cxn modelId="{7E263140-A5A4-4883-8D1E-C7DA68ABF147}" type="presParOf" srcId="{8A4D5B54-71E3-4D48-A795-BCB6A602623D}" destId="{C8D3DC31-EEEF-4F1F-8D53-2A27478EE608}" srcOrd="0" destOrd="0" presId="urn:microsoft.com/office/officeart/2005/8/layout/lProcess2"/>
    <dgm:cxn modelId="{952B032E-1A4D-4CF9-AC78-0394093F6BBF}" type="presParOf" srcId="{8A4D5B54-71E3-4D48-A795-BCB6A602623D}" destId="{DFBED97B-3718-4275-863F-47709FF0B1A3}" srcOrd="1" destOrd="0" presId="urn:microsoft.com/office/officeart/2005/8/layout/lProcess2"/>
    <dgm:cxn modelId="{A128CFB9-75D8-43FE-AD44-52EFE3500837}" type="presParOf" srcId="{8A4D5B54-71E3-4D48-A795-BCB6A602623D}" destId="{5B118621-0408-469D-8C93-C1866718BF3C}" srcOrd="2" destOrd="0" presId="urn:microsoft.com/office/officeart/2005/8/layout/lProcess2"/>
    <dgm:cxn modelId="{77003DED-B9BE-4F1F-9395-E5E51D9EDDD9}" type="presParOf" srcId="{8A4D5B54-71E3-4D48-A795-BCB6A602623D}" destId="{54E64786-9B9F-4CFC-B071-80E7BC85E8BE}" srcOrd="3" destOrd="0" presId="urn:microsoft.com/office/officeart/2005/8/layout/lProcess2"/>
    <dgm:cxn modelId="{BB26E9BA-2003-4B17-9719-193AAEAD72E7}" type="presParOf" srcId="{8A4D5B54-71E3-4D48-A795-BCB6A602623D}" destId="{3CC0BC77-04AA-4B39-848A-1FED189B501F}" srcOrd="4" destOrd="0" presId="urn:microsoft.com/office/officeart/2005/8/layout/lProcess2"/>
    <dgm:cxn modelId="{70DBC82A-F074-4A12-83A4-4E56BFF79491}" type="presParOf" srcId="{8A4D5B54-71E3-4D48-A795-BCB6A602623D}" destId="{8B65712D-23AD-4F70-8394-2B545C129E5C}" srcOrd="5" destOrd="0" presId="urn:microsoft.com/office/officeart/2005/8/layout/lProcess2"/>
    <dgm:cxn modelId="{9334B1A8-05CC-4A6A-A1E6-2498A4632C5A}" type="presParOf" srcId="{8A4D5B54-71E3-4D48-A795-BCB6A602623D}" destId="{60E8C8AF-DD37-4D6B-ADB2-95474C202C28}" srcOrd="6" destOrd="0" presId="urn:microsoft.com/office/officeart/2005/8/layout/lProcess2"/>
    <dgm:cxn modelId="{722531B2-00C2-40EC-BBDF-CFD124776B1E}" type="presParOf" srcId="{6A135C79-267E-40B3-9E8F-23DD5699F0AC}" destId="{619CC0C7-5E16-408A-BEC5-C55B1479D66E}" srcOrd="1" destOrd="0" presId="urn:microsoft.com/office/officeart/2005/8/layout/lProcess2"/>
    <dgm:cxn modelId="{335C35FF-E405-46C0-B640-78390A720B72}" type="presParOf" srcId="{6A135C79-267E-40B3-9E8F-23DD5699F0AC}" destId="{46213FC8-8026-479D-82F3-C2DC584C1FDB}" srcOrd="2" destOrd="0" presId="urn:microsoft.com/office/officeart/2005/8/layout/lProcess2"/>
    <dgm:cxn modelId="{A92AA745-8C76-445D-9038-8CBC04007D80}" type="presParOf" srcId="{46213FC8-8026-479D-82F3-C2DC584C1FDB}" destId="{F9105BB7-588F-4B7D-B85C-6AEF344B7449}" srcOrd="0" destOrd="0" presId="urn:microsoft.com/office/officeart/2005/8/layout/lProcess2"/>
    <dgm:cxn modelId="{4930C86E-D2C1-4AFE-8684-9461BC0CEC18}" type="presParOf" srcId="{46213FC8-8026-479D-82F3-C2DC584C1FDB}" destId="{EE55DD18-F4D4-42F8-A1BD-F7B126B51AA1}" srcOrd="1" destOrd="0" presId="urn:microsoft.com/office/officeart/2005/8/layout/lProcess2"/>
    <dgm:cxn modelId="{DEB5B414-CB1A-4351-B292-97CF7AFCC87B}" type="presParOf" srcId="{46213FC8-8026-479D-82F3-C2DC584C1FDB}" destId="{5B020E8D-F4B6-450C-BE31-C56A62DB5560}" srcOrd="2" destOrd="0" presId="urn:microsoft.com/office/officeart/2005/8/layout/lProcess2"/>
    <dgm:cxn modelId="{874BA342-13FF-4A2F-ADF6-B83BF8C21EE2}" type="presParOf" srcId="{5B020E8D-F4B6-450C-BE31-C56A62DB5560}" destId="{587119E4-1717-4C8F-B065-3E75D42964BE}" srcOrd="0" destOrd="0" presId="urn:microsoft.com/office/officeart/2005/8/layout/lProcess2"/>
    <dgm:cxn modelId="{48BE5669-B38C-408A-9739-B5CA3BDF6789}" type="presParOf" srcId="{587119E4-1717-4C8F-B065-3E75D42964BE}" destId="{A8E4212F-8C82-45A6-9FE9-CD7451E21FBB}" srcOrd="0" destOrd="0" presId="urn:microsoft.com/office/officeart/2005/8/layout/lProcess2"/>
    <dgm:cxn modelId="{193F1031-2609-4F3E-B81F-1E651608E62B}" type="presParOf" srcId="{587119E4-1717-4C8F-B065-3E75D42964BE}" destId="{D6C57CFC-02FA-4935-BBFF-1F084D8ACEF6}" srcOrd="1" destOrd="0" presId="urn:microsoft.com/office/officeart/2005/8/layout/lProcess2"/>
    <dgm:cxn modelId="{70126EF5-65FF-4D03-AAAA-9421B192A824}" type="presParOf" srcId="{587119E4-1717-4C8F-B065-3E75D42964BE}" destId="{6EB8E042-3DAF-4B20-81D1-3EEE82F52592}" srcOrd="2" destOrd="0" presId="urn:microsoft.com/office/officeart/2005/8/layout/lProcess2"/>
    <dgm:cxn modelId="{D8CE4DB8-BAC1-4DCC-ABCE-BA4A3109F464}" type="presParOf" srcId="{587119E4-1717-4C8F-B065-3E75D42964BE}" destId="{36E74231-D510-4FFB-8583-6AE5802A78E2}" srcOrd="3" destOrd="0" presId="urn:microsoft.com/office/officeart/2005/8/layout/lProcess2"/>
    <dgm:cxn modelId="{DB6EAFEA-72A3-4843-8C69-3F2AABAE523C}" type="presParOf" srcId="{587119E4-1717-4C8F-B065-3E75D42964BE}" destId="{B4B9DEB7-4D6F-4645-96ED-BF9E05BC5998}" srcOrd="4" destOrd="0" presId="urn:microsoft.com/office/officeart/2005/8/layout/lProcess2"/>
    <dgm:cxn modelId="{C4212D64-7AD1-472E-8C48-D6742C522FAC}" type="presParOf" srcId="{587119E4-1717-4C8F-B065-3E75D42964BE}" destId="{7E18A7E7-89F7-4C01-A028-78646B4DAEAB}" srcOrd="5" destOrd="0" presId="urn:microsoft.com/office/officeart/2005/8/layout/lProcess2"/>
    <dgm:cxn modelId="{BE81B7CA-78FF-4B67-BAE0-55BD65E23300}" type="presParOf" srcId="{587119E4-1717-4C8F-B065-3E75D42964BE}" destId="{A477EF64-DFE2-4DFE-A158-BC00ED973035}" srcOrd="6" destOrd="0" presId="urn:microsoft.com/office/officeart/2005/8/layout/lProcess2"/>
    <dgm:cxn modelId="{BCFF6D11-3EC0-4777-9E5F-8985E700FBC2}" type="presParOf" srcId="{6A135C79-267E-40B3-9E8F-23DD5699F0AC}" destId="{1C4C1355-6D3B-4069-ABD8-44D3A3D5D08E}" srcOrd="3" destOrd="0" presId="urn:microsoft.com/office/officeart/2005/8/layout/lProcess2"/>
    <dgm:cxn modelId="{125CF478-4BAC-439D-A845-90AA58BAC6F0}" type="presParOf" srcId="{6A135C79-267E-40B3-9E8F-23DD5699F0AC}" destId="{4A6CB824-5C70-4329-8EF7-5955458F8F79}" srcOrd="4" destOrd="0" presId="urn:microsoft.com/office/officeart/2005/8/layout/lProcess2"/>
    <dgm:cxn modelId="{4D1DF71A-D22F-4548-86D4-E56ED4AD2647}" type="presParOf" srcId="{4A6CB824-5C70-4329-8EF7-5955458F8F79}" destId="{4778F0FD-8F7D-4C39-9982-E08CD439102B}" srcOrd="0" destOrd="0" presId="urn:microsoft.com/office/officeart/2005/8/layout/lProcess2"/>
    <dgm:cxn modelId="{34D76AF0-DC64-4846-8CF0-0EC6DAEC61C1}" type="presParOf" srcId="{4A6CB824-5C70-4329-8EF7-5955458F8F79}" destId="{AB815BA0-A756-42B1-8514-0889CD9E8466}" srcOrd="1" destOrd="0" presId="urn:microsoft.com/office/officeart/2005/8/layout/lProcess2"/>
    <dgm:cxn modelId="{5578EC78-F2BA-46A9-918C-F5765E81A12D}" type="presParOf" srcId="{4A6CB824-5C70-4329-8EF7-5955458F8F79}" destId="{F991ED2C-6FBA-4FC4-BC8B-CA09A3538E03}" srcOrd="2" destOrd="0" presId="urn:microsoft.com/office/officeart/2005/8/layout/lProcess2"/>
    <dgm:cxn modelId="{96497EC8-FFA5-409F-BE6C-1A762B2FF06C}" type="presParOf" srcId="{F991ED2C-6FBA-4FC4-BC8B-CA09A3538E03}" destId="{4966D383-3A8F-425B-903D-F5BA11AB2235}" srcOrd="0" destOrd="0" presId="urn:microsoft.com/office/officeart/2005/8/layout/lProcess2"/>
    <dgm:cxn modelId="{E6B91BAD-8B91-40C6-A6D1-5D1B9C1DAAE5}" type="presParOf" srcId="{4966D383-3A8F-425B-903D-F5BA11AB2235}" destId="{0C3B9BA6-B6C5-422B-83B1-BE92477856F9}" srcOrd="0" destOrd="0" presId="urn:microsoft.com/office/officeart/2005/8/layout/lProcess2"/>
    <dgm:cxn modelId="{33100173-46C5-464A-B478-CAC2DE348A51}" type="presParOf" srcId="{4966D383-3A8F-425B-903D-F5BA11AB2235}" destId="{917A4EB0-6BA5-488C-94C4-C1FAE6AED754}" srcOrd="1" destOrd="0" presId="urn:microsoft.com/office/officeart/2005/8/layout/lProcess2"/>
    <dgm:cxn modelId="{ADD876D0-CCAF-4D93-A31E-C42CBA4FB856}" type="presParOf" srcId="{4966D383-3A8F-425B-903D-F5BA11AB2235}" destId="{8A5FCD94-178F-4A90-9CD8-618591DBA3A9}" srcOrd="2" destOrd="0" presId="urn:microsoft.com/office/officeart/2005/8/layout/lProcess2"/>
    <dgm:cxn modelId="{DB0B0A6B-EE2A-42BD-9AE6-09440E88BE20}" type="presParOf" srcId="{4966D383-3A8F-425B-903D-F5BA11AB2235}" destId="{1494B6C8-8ABD-4393-BD94-ED9656E8FBDA}" srcOrd="3" destOrd="0" presId="urn:microsoft.com/office/officeart/2005/8/layout/lProcess2"/>
    <dgm:cxn modelId="{3EECE11C-7EE1-43E6-8CAA-86B564F9720B}" type="presParOf" srcId="{4966D383-3A8F-425B-903D-F5BA11AB2235}" destId="{79D50AF1-4FB2-4EEC-AA6F-4ACD4E75A8A7}" srcOrd="4" destOrd="0" presId="urn:microsoft.com/office/officeart/2005/8/layout/lProcess2"/>
    <dgm:cxn modelId="{7C7C079A-E01F-4E5D-8841-2AB1E0D1DA70}" type="presParOf" srcId="{4966D383-3A8F-425B-903D-F5BA11AB2235}" destId="{B916261C-0B68-4D5B-B5A4-2DDAC2869AA2}" srcOrd="5" destOrd="0" presId="urn:microsoft.com/office/officeart/2005/8/layout/lProcess2"/>
    <dgm:cxn modelId="{DB205BD3-EB51-4F1C-B4C7-3C1858B68282}" type="presParOf" srcId="{4966D383-3A8F-425B-903D-F5BA11AB2235}" destId="{B2C29ABC-92B1-4134-9746-D425368E609F}" srcOrd="6" destOrd="0" presId="urn:microsoft.com/office/officeart/2005/8/layout/lProcess2"/>
    <dgm:cxn modelId="{1AF13C44-DF1E-47AF-8C55-4DB7D71E5887}" type="presParOf" srcId="{6A135C79-267E-40B3-9E8F-23DD5699F0AC}" destId="{C5FCD349-6475-4474-9435-0C64DFF7E352}" srcOrd="5" destOrd="0" presId="urn:microsoft.com/office/officeart/2005/8/layout/lProcess2"/>
    <dgm:cxn modelId="{8F9552C4-1D33-461F-9037-BE9FF141A748}" type="presParOf" srcId="{6A135C79-267E-40B3-9E8F-23DD5699F0AC}" destId="{8A89AA74-7196-452C-9801-87EB58283B01}" srcOrd="6" destOrd="0" presId="urn:microsoft.com/office/officeart/2005/8/layout/lProcess2"/>
    <dgm:cxn modelId="{7523F06F-A149-49C7-8951-FB410430772A}" type="presParOf" srcId="{8A89AA74-7196-452C-9801-87EB58283B01}" destId="{34E98BB0-2E38-4677-BCBE-9B2028CCC98E}" srcOrd="0" destOrd="0" presId="urn:microsoft.com/office/officeart/2005/8/layout/lProcess2"/>
    <dgm:cxn modelId="{176E7987-4ED7-4795-B8EA-1A1E5E3BCF19}" type="presParOf" srcId="{8A89AA74-7196-452C-9801-87EB58283B01}" destId="{DFCDEC80-310F-47F0-B522-60DB8083EAD2}" srcOrd="1" destOrd="0" presId="urn:microsoft.com/office/officeart/2005/8/layout/lProcess2"/>
    <dgm:cxn modelId="{DB6C7570-4B2E-4475-85C6-8A78806B8EAE}" type="presParOf" srcId="{8A89AA74-7196-452C-9801-87EB58283B01}" destId="{E7D81ECD-D144-42F6-BEAB-1CDEEE58DF9F}" srcOrd="2" destOrd="0" presId="urn:microsoft.com/office/officeart/2005/8/layout/lProcess2"/>
    <dgm:cxn modelId="{60F008C0-E85A-4C14-9276-4EDB0F7799B9}" type="presParOf" srcId="{E7D81ECD-D144-42F6-BEAB-1CDEEE58DF9F}" destId="{4500BF5C-DC05-45EB-88EE-649497A8E43F}" srcOrd="0" destOrd="0" presId="urn:microsoft.com/office/officeart/2005/8/layout/lProcess2"/>
    <dgm:cxn modelId="{BB69BDFB-74D8-45EC-9D7A-1F488583A650}" type="presParOf" srcId="{4500BF5C-DC05-45EB-88EE-649497A8E43F}" destId="{AB109E2B-119D-4C21-A696-9D13CDA458A9}" srcOrd="0" destOrd="0" presId="urn:microsoft.com/office/officeart/2005/8/layout/lProcess2"/>
    <dgm:cxn modelId="{53299BAE-81D4-42F2-8CCE-51F0AF97CA88}" type="presParOf" srcId="{4500BF5C-DC05-45EB-88EE-649497A8E43F}" destId="{8968EADA-C931-4414-9D1B-4670DBF2B25D}" srcOrd="1" destOrd="0" presId="urn:microsoft.com/office/officeart/2005/8/layout/lProcess2"/>
    <dgm:cxn modelId="{987F9D49-B307-4029-9D5B-E89A268DD2B1}" type="presParOf" srcId="{4500BF5C-DC05-45EB-88EE-649497A8E43F}" destId="{F617F14F-4AED-4634-82F3-AFF376C33B57}" srcOrd="2" destOrd="0" presId="urn:microsoft.com/office/officeart/2005/8/layout/lProcess2"/>
    <dgm:cxn modelId="{5439CA92-772D-46F9-9FF8-98DF5115EC97}" type="presParOf" srcId="{4500BF5C-DC05-45EB-88EE-649497A8E43F}" destId="{834AA233-D9B1-4F39-B474-9369363AE0FC}" srcOrd="3" destOrd="0" presId="urn:microsoft.com/office/officeart/2005/8/layout/lProcess2"/>
    <dgm:cxn modelId="{F29ACBAF-868C-49B8-A4EE-FEB98E4321C9}" type="presParOf" srcId="{4500BF5C-DC05-45EB-88EE-649497A8E43F}" destId="{409B6375-4BA3-4118-B899-AE3F27FBD038}" srcOrd="4" destOrd="0" presId="urn:microsoft.com/office/officeart/2005/8/layout/lProcess2"/>
    <dgm:cxn modelId="{BCE407AA-5B4F-4914-8AFF-DB99882340DF}" type="presParOf" srcId="{4500BF5C-DC05-45EB-88EE-649497A8E43F}" destId="{0D317832-A6DC-4289-8C15-BEFB630270C6}" srcOrd="5" destOrd="0" presId="urn:microsoft.com/office/officeart/2005/8/layout/lProcess2"/>
    <dgm:cxn modelId="{B3CC6F6A-8656-4971-8B4D-70E41CA8353B}" type="presParOf" srcId="{4500BF5C-DC05-45EB-88EE-649497A8E43F}" destId="{6456F055-4A09-404B-987B-01E621BC2F9F}" srcOrd="6"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69453C-39BA-45B5-9158-65591A53ABDD}">
      <dsp:nvSpPr>
        <dsp:cNvPr id="0" name=""/>
        <dsp:cNvSpPr/>
      </dsp:nvSpPr>
      <dsp:spPr>
        <a:xfrm>
          <a:off x="168498" y="0"/>
          <a:ext cx="1077967" cy="2726720"/>
        </a:xfrm>
        <a:prstGeom prst="rect">
          <a:avLst/>
        </a:prstGeom>
        <a:no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endParaRPr lang="pt-PT" sz="2800" kern="1200" dirty="0"/>
        </a:p>
      </dsp:txBody>
      <dsp:txXfrm>
        <a:off x="168498" y="0"/>
        <a:ext cx="1077967" cy="818016"/>
      </dsp:txXfrm>
    </dsp:sp>
    <dsp:sp modelId="{C8D3DC31-EEEF-4F1F-8D53-2A27478EE608}">
      <dsp:nvSpPr>
        <dsp:cNvPr id="0" name=""/>
        <dsp:cNvSpPr/>
      </dsp:nvSpPr>
      <dsp:spPr>
        <a:xfrm>
          <a:off x="63737" y="818082"/>
          <a:ext cx="1287489" cy="397225"/>
        </a:xfrm>
        <a:prstGeom prst="ellipse">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66725">
            <a:lnSpc>
              <a:spcPct val="90000"/>
            </a:lnSpc>
            <a:spcBef>
              <a:spcPct val="0"/>
            </a:spcBef>
            <a:spcAft>
              <a:spcPct val="35000"/>
            </a:spcAft>
          </a:pPr>
          <a:r>
            <a:rPr lang="pt-PT" sz="1050" b="1" kern="1200" dirty="0">
              <a:solidFill>
                <a:schemeClr val="tx1"/>
              </a:solidFill>
            </a:rPr>
            <a:t>SCOPE</a:t>
          </a:r>
          <a:endParaRPr lang="pt-PT" sz="1100" b="1" kern="1200" dirty="0">
            <a:solidFill>
              <a:schemeClr val="tx1"/>
            </a:solidFill>
          </a:endParaRPr>
        </a:p>
      </dsp:txBody>
      <dsp:txXfrm>
        <a:off x="252285" y="876254"/>
        <a:ext cx="910393" cy="280881"/>
      </dsp:txXfrm>
    </dsp:sp>
    <dsp:sp modelId="{5B118621-0408-469D-8C93-C1866718BF3C}">
      <dsp:nvSpPr>
        <dsp:cNvPr id="0" name=""/>
        <dsp:cNvSpPr/>
      </dsp:nvSpPr>
      <dsp:spPr>
        <a:xfrm>
          <a:off x="63737" y="1276419"/>
          <a:ext cx="1287489" cy="397225"/>
        </a:xfrm>
        <a:prstGeom prst="ellipse">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66725">
            <a:lnSpc>
              <a:spcPct val="90000"/>
            </a:lnSpc>
            <a:spcBef>
              <a:spcPct val="0"/>
            </a:spcBef>
            <a:spcAft>
              <a:spcPct val="35000"/>
            </a:spcAft>
          </a:pPr>
          <a:r>
            <a:rPr lang="pt-PT" sz="1050" b="1" kern="1200" dirty="0">
              <a:solidFill>
                <a:sysClr val="windowText" lastClr="000000"/>
              </a:solidFill>
            </a:rPr>
            <a:t>FINANCING INTRUMENT</a:t>
          </a:r>
        </a:p>
      </dsp:txBody>
      <dsp:txXfrm>
        <a:off x="252285" y="1334591"/>
        <a:ext cx="910393" cy="280881"/>
      </dsp:txXfrm>
    </dsp:sp>
    <dsp:sp modelId="{3CC0BC77-04AA-4B39-848A-1FED189B501F}">
      <dsp:nvSpPr>
        <dsp:cNvPr id="0" name=""/>
        <dsp:cNvSpPr/>
      </dsp:nvSpPr>
      <dsp:spPr>
        <a:xfrm>
          <a:off x="547" y="1734755"/>
          <a:ext cx="1413869" cy="397225"/>
        </a:xfrm>
        <a:prstGeom prst="ellipse">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pt-PT" sz="1000" b="1" kern="1200" dirty="0">
              <a:solidFill>
                <a:schemeClr val="tx1"/>
              </a:solidFill>
            </a:rPr>
            <a:t>MANAGEMENT</a:t>
          </a:r>
        </a:p>
      </dsp:txBody>
      <dsp:txXfrm>
        <a:off x="207603" y="1792927"/>
        <a:ext cx="999757" cy="280881"/>
      </dsp:txXfrm>
    </dsp:sp>
    <dsp:sp modelId="{60E8C8AF-DD37-4D6B-ADB2-95474C202C28}">
      <dsp:nvSpPr>
        <dsp:cNvPr id="0" name=""/>
        <dsp:cNvSpPr/>
      </dsp:nvSpPr>
      <dsp:spPr>
        <a:xfrm>
          <a:off x="63737" y="2193092"/>
          <a:ext cx="1287489" cy="397225"/>
        </a:xfrm>
        <a:prstGeom prst="ellipse">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pt-PT" sz="1100" b="1" kern="1200" dirty="0">
              <a:solidFill>
                <a:schemeClr val="tx1"/>
              </a:solidFill>
            </a:rPr>
            <a:t>RESOURCE ENVELOPE</a:t>
          </a:r>
        </a:p>
      </dsp:txBody>
      <dsp:txXfrm>
        <a:off x="252285" y="2251264"/>
        <a:ext cx="910393" cy="280881"/>
      </dsp:txXfrm>
    </dsp:sp>
    <dsp:sp modelId="{F9105BB7-588F-4B7D-B85C-6AEF344B7449}">
      <dsp:nvSpPr>
        <dsp:cNvPr id="0" name=""/>
        <dsp:cNvSpPr/>
      </dsp:nvSpPr>
      <dsp:spPr>
        <a:xfrm>
          <a:off x="1535119" y="0"/>
          <a:ext cx="1609362" cy="2726720"/>
        </a:xfrm>
        <a:prstGeom prst="rect">
          <a:avLst/>
        </a:prstGeom>
        <a:solidFill>
          <a:srgbClr val="FFCE00"/>
        </a:solidFill>
        <a:ln>
          <a:noFill/>
        </a:ln>
        <a:effectLst/>
      </dsp:spPr>
      <dsp:style>
        <a:lnRef idx="0">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effectLst/>
              <a:latin typeface="Calibri"/>
              <a:ea typeface="Cambria"/>
              <a:cs typeface="Times New Roman"/>
            </a:rPr>
            <a:t>Component I - Project Preparation Grants</a:t>
          </a:r>
          <a:endParaRPr lang="pt-PT" sz="1400" kern="1200" dirty="0"/>
        </a:p>
      </dsp:txBody>
      <dsp:txXfrm>
        <a:off x="1535119" y="0"/>
        <a:ext cx="1609362" cy="818016"/>
      </dsp:txXfrm>
    </dsp:sp>
    <dsp:sp modelId="{A8E4212F-8C82-45A6-9FE9-CD7451E21FBB}">
      <dsp:nvSpPr>
        <dsp:cNvPr id="0" name=""/>
        <dsp:cNvSpPr/>
      </dsp:nvSpPr>
      <dsp:spPr>
        <a:xfrm>
          <a:off x="1696055" y="818082"/>
          <a:ext cx="1287489" cy="397225"/>
        </a:xfrm>
        <a:prstGeom prst="rect">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en-US" sz="1000" b="0" i="1" kern="1200" dirty="0">
              <a:solidFill>
                <a:sysClr val="windowText" lastClr="000000"/>
              </a:solidFill>
              <a:effectLst/>
              <a:latin typeface="Calibri"/>
              <a:ea typeface="Cambria"/>
              <a:cs typeface="Times New Roman"/>
            </a:rPr>
            <a:t>Preparation support to</a:t>
          </a:r>
          <a:endParaRPr lang="en-US" sz="1000" b="0" i="1" kern="1200" dirty="0">
            <a:solidFill>
              <a:sysClr val="windowText" lastClr="000000"/>
            </a:solidFill>
            <a:effectLst/>
            <a:latin typeface="Cambria"/>
            <a:ea typeface="Cambria"/>
            <a:cs typeface="Times New Roman"/>
          </a:endParaRPr>
        </a:p>
        <a:p>
          <a:pPr lvl="0" algn="ctr" defTabSz="444500" rtl="0">
            <a:lnSpc>
              <a:spcPct val="90000"/>
            </a:lnSpc>
            <a:spcBef>
              <a:spcPct val="0"/>
            </a:spcBef>
            <a:spcAft>
              <a:spcPct val="35000"/>
            </a:spcAft>
          </a:pPr>
          <a:r>
            <a:rPr lang="en-US" sz="1000" b="0" kern="1200" dirty="0">
              <a:solidFill>
                <a:sysClr val="windowText" lastClr="000000"/>
              </a:solidFill>
              <a:effectLst/>
              <a:latin typeface="Calibri"/>
              <a:ea typeface="Cambria"/>
              <a:cs typeface="Times New Roman"/>
            </a:rPr>
            <a:t>RE/EE </a:t>
          </a:r>
          <a:r>
            <a:rPr lang="en-US" sz="1000" b="0" kern="1200" dirty="0">
              <a:solidFill>
                <a:sysClr val="windowText" lastClr="000000"/>
              </a:solidFill>
              <a:effectLst/>
              <a:latin typeface="+mn-lt"/>
              <a:ea typeface="Cambria"/>
              <a:cs typeface="Times New Roman"/>
            </a:rPr>
            <a:t>Projects</a:t>
          </a:r>
          <a:endParaRPr lang="pt-PT" sz="1000" kern="1200" dirty="0">
            <a:solidFill>
              <a:sysClr val="windowText" lastClr="000000"/>
            </a:solidFill>
          </a:endParaRPr>
        </a:p>
      </dsp:txBody>
      <dsp:txXfrm>
        <a:off x="1696055" y="818082"/>
        <a:ext cx="1287489" cy="397225"/>
      </dsp:txXfrm>
    </dsp:sp>
    <dsp:sp modelId="{6EB8E042-3DAF-4B20-81D1-3EEE82F52592}">
      <dsp:nvSpPr>
        <dsp:cNvPr id="0" name=""/>
        <dsp:cNvSpPr/>
      </dsp:nvSpPr>
      <dsp:spPr>
        <a:xfrm>
          <a:off x="1696055" y="1276419"/>
          <a:ext cx="1287489" cy="397225"/>
        </a:xfrm>
        <a:prstGeom prst="roundRect">
          <a:avLst>
            <a:gd name="adj" fmla="val 10000"/>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en-US" sz="1000" b="0" kern="1200" dirty="0">
              <a:solidFill>
                <a:sysClr val="windowText" lastClr="000000"/>
              </a:solidFill>
              <a:effectLst/>
              <a:latin typeface="Calibri"/>
              <a:ea typeface="Cambria"/>
              <a:cs typeface="Times New Roman"/>
            </a:rPr>
            <a:t>Grants up to USD 1 million</a:t>
          </a:r>
          <a:r>
            <a:rPr lang="en-US" sz="1000" b="0" kern="1200" baseline="0" dirty="0">
              <a:solidFill>
                <a:sysClr val="windowText" lastClr="000000"/>
              </a:solidFill>
              <a:effectLst/>
              <a:latin typeface="Calibri"/>
              <a:ea typeface="Cambria"/>
              <a:cs typeface="Times New Roman"/>
            </a:rPr>
            <a:t> </a:t>
          </a:r>
          <a:r>
            <a:rPr lang="en-US" sz="1000" b="0" kern="1200" dirty="0">
              <a:solidFill>
                <a:sysClr val="windowText" lastClr="000000"/>
              </a:solidFill>
              <a:effectLst/>
              <a:latin typeface="Calibri"/>
              <a:ea typeface="Cambria"/>
              <a:cs typeface="Times New Roman"/>
            </a:rPr>
            <a:t>to project developers</a:t>
          </a:r>
          <a:endParaRPr lang="pt-PT" sz="1000" kern="1200" dirty="0">
            <a:solidFill>
              <a:sysClr val="windowText" lastClr="000000"/>
            </a:solidFill>
          </a:endParaRPr>
        </a:p>
      </dsp:txBody>
      <dsp:txXfrm>
        <a:off x="1707689" y="1288053"/>
        <a:ext cx="1264221" cy="373957"/>
      </dsp:txXfrm>
    </dsp:sp>
    <dsp:sp modelId="{B4B9DEB7-4D6F-4645-96ED-BF9E05BC5998}">
      <dsp:nvSpPr>
        <dsp:cNvPr id="0" name=""/>
        <dsp:cNvSpPr/>
      </dsp:nvSpPr>
      <dsp:spPr>
        <a:xfrm>
          <a:off x="1696055" y="1734755"/>
          <a:ext cx="1287489" cy="397225"/>
        </a:xfrm>
        <a:prstGeom prst="roundRect">
          <a:avLst>
            <a:gd name="adj" fmla="val 10000"/>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88950" rtl="0">
            <a:lnSpc>
              <a:spcPct val="90000"/>
            </a:lnSpc>
            <a:spcBef>
              <a:spcPct val="0"/>
            </a:spcBef>
            <a:spcAft>
              <a:spcPct val="35000"/>
            </a:spcAft>
          </a:pPr>
          <a:r>
            <a:rPr lang="en-US" sz="1100" b="0" kern="1200" dirty="0">
              <a:solidFill>
                <a:schemeClr val="tx1"/>
              </a:solidFill>
              <a:effectLst/>
              <a:latin typeface="Calibri"/>
              <a:ea typeface="Cambria"/>
              <a:cs typeface="Times New Roman"/>
            </a:rPr>
            <a:t>SEFA</a:t>
          </a:r>
        </a:p>
      </dsp:txBody>
      <dsp:txXfrm>
        <a:off x="1707689" y="1746389"/>
        <a:ext cx="1264221" cy="373957"/>
      </dsp:txXfrm>
    </dsp:sp>
    <dsp:sp modelId="{A477EF64-DFE2-4DFE-A158-BC00ED973035}">
      <dsp:nvSpPr>
        <dsp:cNvPr id="0" name=""/>
        <dsp:cNvSpPr/>
      </dsp:nvSpPr>
      <dsp:spPr>
        <a:xfrm>
          <a:off x="1696055" y="2193092"/>
          <a:ext cx="1287489" cy="397225"/>
        </a:xfrm>
        <a:prstGeom prst="roundRect">
          <a:avLst>
            <a:gd name="adj" fmla="val 10000"/>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88950" rtl="0">
            <a:lnSpc>
              <a:spcPct val="90000"/>
            </a:lnSpc>
            <a:spcBef>
              <a:spcPct val="0"/>
            </a:spcBef>
            <a:spcAft>
              <a:spcPct val="35000"/>
            </a:spcAft>
          </a:pPr>
          <a:r>
            <a:rPr lang="en-US" sz="1100" b="1" kern="1200" dirty="0">
              <a:solidFill>
                <a:schemeClr val="tx1"/>
              </a:solidFill>
              <a:effectLst/>
              <a:latin typeface="Calibri"/>
              <a:ea typeface="Cambria"/>
              <a:cs typeface="Times New Roman"/>
            </a:rPr>
            <a:t>USD 25.2 million</a:t>
          </a:r>
          <a:endParaRPr lang="pt-PT" sz="1100" b="1" kern="1200" dirty="0">
            <a:solidFill>
              <a:schemeClr val="tx1"/>
            </a:solidFill>
            <a:effectLst/>
            <a:latin typeface="Calibri"/>
            <a:ea typeface="Cambria"/>
            <a:cs typeface="Times New Roman"/>
          </a:endParaRPr>
        </a:p>
      </dsp:txBody>
      <dsp:txXfrm>
        <a:off x="1707689" y="2204726"/>
        <a:ext cx="1264221" cy="373957"/>
      </dsp:txXfrm>
    </dsp:sp>
    <dsp:sp modelId="{4778F0FD-8F7D-4C39-9982-E08CD439102B}">
      <dsp:nvSpPr>
        <dsp:cNvPr id="0" name=""/>
        <dsp:cNvSpPr/>
      </dsp:nvSpPr>
      <dsp:spPr>
        <a:xfrm>
          <a:off x="3265184" y="0"/>
          <a:ext cx="1609362" cy="2726720"/>
        </a:xfrm>
        <a:prstGeom prst="rect">
          <a:avLst/>
        </a:prstGeom>
        <a:solidFill>
          <a:srgbClr val="FFCE00"/>
        </a:solidFill>
        <a:ln>
          <a:noFill/>
        </a:ln>
        <a:effectLst/>
      </dsp:spPr>
      <dsp:style>
        <a:lnRef idx="0">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a:effectLst/>
              <a:latin typeface="Calibri"/>
              <a:ea typeface="Cambria"/>
              <a:cs typeface="Times New Roman"/>
            </a:rPr>
            <a:t>Component II – Equity Investments</a:t>
          </a:r>
          <a:endParaRPr lang="pt-PT" sz="1400" b="1" kern="1200" dirty="0">
            <a:effectLst/>
            <a:latin typeface="Calibri"/>
            <a:ea typeface="Cambria"/>
            <a:cs typeface="Times New Roman"/>
          </a:endParaRPr>
        </a:p>
      </dsp:txBody>
      <dsp:txXfrm>
        <a:off x="3265184" y="0"/>
        <a:ext cx="1609362" cy="818016"/>
      </dsp:txXfrm>
    </dsp:sp>
    <dsp:sp modelId="{0C3B9BA6-B6C5-422B-83B1-BE92477856F9}">
      <dsp:nvSpPr>
        <dsp:cNvPr id="0" name=""/>
        <dsp:cNvSpPr/>
      </dsp:nvSpPr>
      <dsp:spPr>
        <a:xfrm>
          <a:off x="3426120" y="818082"/>
          <a:ext cx="1287489" cy="397225"/>
        </a:xfrm>
        <a:prstGeom prst="rect">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en-US" sz="1000" kern="1200">
              <a:solidFill>
                <a:sysClr val="windowText" lastClr="000000"/>
              </a:solidFill>
              <a:effectLst/>
              <a:latin typeface="Calibri"/>
              <a:ea typeface="Cambria"/>
              <a:cs typeface="Times New Roman"/>
            </a:rPr>
            <a:t>Seed/growth capital for RE Projects</a:t>
          </a:r>
          <a:endParaRPr lang="pt-PT" sz="1000" kern="1200">
            <a:solidFill>
              <a:sysClr val="windowText" lastClr="000000"/>
            </a:solidFill>
          </a:endParaRPr>
        </a:p>
      </dsp:txBody>
      <dsp:txXfrm>
        <a:off x="3426120" y="818082"/>
        <a:ext cx="1287489" cy="397225"/>
      </dsp:txXfrm>
    </dsp:sp>
    <dsp:sp modelId="{8A5FCD94-178F-4A90-9CD8-618591DBA3A9}">
      <dsp:nvSpPr>
        <dsp:cNvPr id="0" name=""/>
        <dsp:cNvSpPr/>
      </dsp:nvSpPr>
      <dsp:spPr>
        <a:xfrm>
          <a:off x="3426120" y="1276419"/>
          <a:ext cx="1287489" cy="397225"/>
        </a:xfrm>
        <a:prstGeom prst="roundRect">
          <a:avLst>
            <a:gd name="adj" fmla="val 10000"/>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en-US" sz="1000" kern="1200" dirty="0">
              <a:solidFill>
                <a:sysClr val="windowText" lastClr="000000"/>
              </a:solidFill>
              <a:effectLst/>
              <a:latin typeface="Calibri"/>
              <a:ea typeface="Cambria"/>
              <a:cs typeface="Times New Roman"/>
            </a:rPr>
            <a:t>Equity and TA through a Private Equity Fund </a:t>
          </a:r>
        </a:p>
      </dsp:txBody>
      <dsp:txXfrm>
        <a:off x="3437754" y="1288053"/>
        <a:ext cx="1264221" cy="373957"/>
      </dsp:txXfrm>
    </dsp:sp>
    <dsp:sp modelId="{79D50AF1-4FB2-4EEC-AA6F-4ACD4E75A8A7}">
      <dsp:nvSpPr>
        <dsp:cNvPr id="0" name=""/>
        <dsp:cNvSpPr/>
      </dsp:nvSpPr>
      <dsp:spPr>
        <a:xfrm>
          <a:off x="3426120" y="1734755"/>
          <a:ext cx="1287489" cy="397225"/>
        </a:xfrm>
        <a:prstGeom prst="roundRect">
          <a:avLst>
            <a:gd name="adj" fmla="val 10000"/>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pt-PT" sz="1000" kern="1200" dirty="0">
              <a:solidFill>
                <a:schemeClr val="tx1"/>
              </a:solidFill>
            </a:rPr>
            <a:t>Africa </a:t>
          </a:r>
          <a:r>
            <a:rPr lang="pt-PT" sz="1000" kern="1200" dirty="0" err="1">
              <a:solidFill>
                <a:schemeClr val="tx1"/>
              </a:solidFill>
            </a:rPr>
            <a:t>Renewable</a:t>
          </a:r>
          <a:r>
            <a:rPr lang="pt-PT" sz="1000" kern="1200" dirty="0">
              <a:solidFill>
                <a:schemeClr val="tx1"/>
              </a:solidFill>
            </a:rPr>
            <a:t> </a:t>
          </a:r>
          <a:r>
            <a:rPr lang="pt-PT" sz="1000" kern="1200" dirty="0" err="1">
              <a:solidFill>
                <a:schemeClr val="tx1"/>
              </a:solidFill>
            </a:rPr>
            <a:t>Energy</a:t>
          </a:r>
          <a:r>
            <a:rPr lang="pt-PT" sz="1000" kern="1200" dirty="0">
              <a:solidFill>
                <a:schemeClr val="tx1"/>
              </a:solidFill>
            </a:rPr>
            <a:t> </a:t>
          </a:r>
          <a:r>
            <a:rPr lang="pt-PT" sz="1000" kern="1200" dirty="0" err="1">
              <a:solidFill>
                <a:schemeClr val="tx1"/>
              </a:solidFill>
            </a:rPr>
            <a:t>Fund</a:t>
          </a:r>
          <a:r>
            <a:rPr lang="pt-PT" sz="1000" kern="1200" dirty="0">
              <a:solidFill>
                <a:schemeClr val="tx1"/>
              </a:solidFill>
            </a:rPr>
            <a:t> (AREF)</a:t>
          </a:r>
        </a:p>
      </dsp:txBody>
      <dsp:txXfrm>
        <a:off x="3437754" y="1746389"/>
        <a:ext cx="1264221" cy="373957"/>
      </dsp:txXfrm>
    </dsp:sp>
    <dsp:sp modelId="{B2C29ABC-92B1-4134-9746-D425368E609F}">
      <dsp:nvSpPr>
        <dsp:cNvPr id="0" name=""/>
        <dsp:cNvSpPr/>
      </dsp:nvSpPr>
      <dsp:spPr>
        <a:xfrm>
          <a:off x="3426120" y="2193092"/>
          <a:ext cx="1287489" cy="397225"/>
        </a:xfrm>
        <a:prstGeom prst="roundRect">
          <a:avLst>
            <a:gd name="adj" fmla="val 10000"/>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88950" rtl="0">
            <a:lnSpc>
              <a:spcPct val="90000"/>
            </a:lnSpc>
            <a:spcBef>
              <a:spcPct val="0"/>
            </a:spcBef>
            <a:spcAft>
              <a:spcPct val="35000"/>
            </a:spcAft>
          </a:pPr>
          <a:r>
            <a:rPr lang="en-US" sz="1100" b="1" kern="1200" dirty="0">
              <a:solidFill>
                <a:schemeClr val="tx1"/>
              </a:solidFill>
              <a:effectLst/>
              <a:latin typeface="Calibri"/>
              <a:ea typeface="Cambria"/>
              <a:cs typeface="Times New Roman"/>
            </a:rPr>
            <a:t>USD 35.5 million</a:t>
          </a:r>
          <a:endParaRPr lang="pt-PT" sz="1100" b="1" kern="1200" dirty="0">
            <a:solidFill>
              <a:schemeClr val="tx1"/>
            </a:solidFill>
          </a:endParaRPr>
        </a:p>
      </dsp:txBody>
      <dsp:txXfrm>
        <a:off x="3437754" y="2204726"/>
        <a:ext cx="1264221" cy="373957"/>
      </dsp:txXfrm>
    </dsp:sp>
    <dsp:sp modelId="{34E98BB0-2E38-4677-BCBE-9B2028CCC98E}">
      <dsp:nvSpPr>
        <dsp:cNvPr id="0" name=""/>
        <dsp:cNvSpPr/>
      </dsp:nvSpPr>
      <dsp:spPr>
        <a:xfrm>
          <a:off x="4995249" y="0"/>
          <a:ext cx="1609362" cy="2726720"/>
        </a:xfrm>
        <a:prstGeom prst="rect">
          <a:avLst/>
        </a:prstGeom>
        <a:solidFill>
          <a:srgbClr val="FFCE00"/>
        </a:solidFill>
        <a:ln>
          <a:noFill/>
        </a:ln>
        <a:effectLst/>
      </dsp:spPr>
      <dsp:style>
        <a:lnRef idx="0">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pt-PT" sz="1400" b="1" kern="1200" dirty="0">
              <a:effectLst/>
              <a:latin typeface="Calibri"/>
              <a:ea typeface="Cambria"/>
              <a:cs typeface="Times New Roman"/>
            </a:rPr>
            <a:t>Component III – Enabling Environment</a:t>
          </a:r>
        </a:p>
      </dsp:txBody>
      <dsp:txXfrm>
        <a:off x="4995249" y="0"/>
        <a:ext cx="1609362" cy="818016"/>
      </dsp:txXfrm>
    </dsp:sp>
    <dsp:sp modelId="{AB109E2B-119D-4C21-A696-9D13CDA458A9}">
      <dsp:nvSpPr>
        <dsp:cNvPr id="0" name=""/>
        <dsp:cNvSpPr/>
      </dsp:nvSpPr>
      <dsp:spPr>
        <a:xfrm>
          <a:off x="5156185" y="818082"/>
          <a:ext cx="1287489" cy="397225"/>
        </a:xfrm>
        <a:prstGeom prst="rect">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en-US" sz="1000" kern="1200" dirty="0">
              <a:solidFill>
                <a:sysClr val="windowText" lastClr="000000"/>
              </a:solidFill>
              <a:effectLst/>
              <a:latin typeface="Calibri"/>
              <a:ea typeface="Cambria"/>
              <a:cs typeface="Times New Roman"/>
            </a:rPr>
            <a:t>Enabling environment for private investments</a:t>
          </a:r>
          <a:r>
            <a:rPr lang="en-US" sz="1000" kern="1200" baseline="0" dirty="0">
              <a:solidFill>
                <a:sysClr val="windowText" lastClr="000000"/>
              </a:solidFill>
              <a:effectLst/>
              <a:latin typeface="Calibri"/>
              <a:ea typeface="Cambria"/>
              <a:cs typeface="Times New Roman"/>
            </a:rPr>
            <a:t> in RE</a:t>
          </a:r>
          <a:endParaRPr lang="en-US" sz="1000" kern="1200" dirty="0">
            <a:solidFill>
              <a:sysClr val="windowText" lastClr="000000"/>
            </a:solidFill>
            <a:effectLst/>
            <a:latin typeface="Cambria"/>
            <a:ea typeface="Cambria"/>
            <a:cs typeface="Times New Roman"/>
          </a:endParaRPr>
        </a:p>
      </dsp:txBody>
      <dsp:txXfrm>
        <a:off x="5156185" y="818082"/>
        <a:ext cx="1287489" cy="397225"/>
      </dsp:txXfrm>
    </dsp:sp>
    <dsp:sp modelId="{F617F14F-4AED-4634-82F3-AFF376C33B57}">
      <dsp:nvSpPr>
        <dsp:cNvPr id="0" name=""/>
        <dsp:cNvSpPr/>
      </dsp:nvSpPr>
      <dsp:spPr>
        <a:xfrm>
          <a:off x="5156185" y="1276419"/>
          <a:ext cx="1287489" cy="397225"/>
        </a:xfrm>
        <a:prstGeom prst="roundRect">
          <a:avLst>
            <a:gd name="adj" fmla="val 10000"/>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en-US" sz="1000" kern="1200">
              <a:solidFill>
                <a:sysClr val="windowText" lastClr="000000"/>
              </a:solidFill>
              <a:effectLst/>
              <a:latin typeface="Calibri"/>
              <a:ea typeface="Cambria"/>
              <a:cs typeface="Times New Roman"/>
            </a:rPr>
            <a:t>Grants for TA and capacity building of public actors</a:t>
          </a:r>
          <a:endParaRPr lang="en-US" sz="1000" kern="1200" dirty="0">
            <a:solidFill>
              <a:sysClr val="windowText" lastClr="000000"/>
            </a:solidFill>
            <a:effectLst/>
            <a:latin typeface="Cambria"/>
            <a:ea typeface="Cambria"/>
            <a:cs typeface="Times New Roman"/>
          </a:endParaRPr>
        </a:p>
      </dsp:txBody>
      <dsp:txXfrm>
        <a:off x="5167819" y="1288053"/>
        <a:ext cx="1264221" cy="373957"/>
      </dsp:txXfrm>
    </dsp:sp>
    <dsp:sp modelId="{409B6375-4BA3-4118-B899-AE3F27FBD038}">
      <dsp:nvSpPr>
        <dsp:cNvPr id="0" name=""/>
        <dsp:cNvSpPr/>
      </dsp:nvSpPr>
      <dsp:spPr>
        <a:xfrm>
          <a:off x="5156185" y="1734755"/>
          <a:ext cx="1287489" cy="397225"/>
        </a:xfrm>
        <a:prstGeom prst="roundRect">
          <a:avLst>
            <a:gd name="adj" fmla="val 10000"/>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5400" tIns="19050" rIns="25400" bIns="19050" numCol="1" spcCol="1270" anchor="ctr" anchorCtr="0">
          <a:noAutofit/>
        </a:bodyPr>
        <a:lstStyle/>
        <a:p>
          <a:pPr lvl="0" algn="ctr" defTabSz="444500">
            <a:lnSpc>
              <a:spcPct val="90000"/>
            </a:lnSpc>
            <a:spcBef>
              <a:spcPct val="0"/>
            </a:spcBef>
            <a:spcAft>
              <a:spcPct val="35000"/>
            </a:spcAft>
          </a:pPr>
          <a:r>
            <a:rPr lang="en-US" sz="1000" kern="1200" dirty="0">
              <a:solidFill>
                <a:schemeClr val="tx1"/>
              </a:solidFill>
              <a:effectLst/>
              <a:latin typeface="+mn-lt"/>
              <a:ea typeface="Cambria"/>
              <a:cs typeface="Times New Roman"/>
            </a:rPr>
            <a:t>SEFA &amp; Sustainable Energy for All</a:t>
          </a:r>
        </a:p>
      </dsp:txBody>
      <dsp:txXfrm>
        <a:off x="5167819" y="1746389"/>
        <a:ext cx="1264221" cy="373957"/>
      </dsp:txXfrm>
    </dsp:sp>
    <dsp:sp modelId="{6456F055-4A09-404B-987B-01E621BC2F9F}">
      <dsp:nvSpPr>
        <dsp:cNvPr id="0" name=""/>
        <dsp:cNvSpPr/>
      </dsp:nvSpPr>
      <dsp:spPr>
        <a:xfrm>
          <a:off x="5156185" y="2193092"/>
          <a:ext cx="1287489" cy="397225"/>
        </a:xfrm>
        <a:prstGeom prst="roundRect">
          <a:avLst>
            <a:gd name="adj" fmla="val 10000"/>
          </a:avLst>
        </a:prstGeom>
        <a:no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27940" tIns="20955" rIns="27940" bIns="20955" numCol="1" spcCol="1270" anchor="ctr" anchorCtr="0">
          <a:noAutofit/>
        </a:bodyPr>
        <a:lstStyle/>
        <a:p>
          <a:pPr lvl="0" algn="ctr" defTabSz="488950" rtl="0">
            <a:lnSpc>
              <a:spcPct val="90000"/>
            </a:lnSpc>
            <a:spcBef>
              <a:spcPct val="0"/>
            </a:spcBef>
            <a:spcAft>
              <a:spcPct val="35000"/>
            </a:spcAft>
          </a:pPr>
          <a:r>
            <a:rPr lang="en-US" sz="1100" b="1" kern="1200" dirty="0">
              <a:solidFill>
                <a:schemeClr val="tx1"/>
              </a:solidFill>
              <a:effectLst/>
              <a:latin typeface="Calibri"/>
              <a:ea typeface="Cambria"/>
              <a:cs typeface="Times New Roman"/>
            </a:rPr>
            <a:t>USD 34.7 million</a:t>
          </a:r>
        </a:p>
      </dsp:txBody>
      <dsp:txXfrm>
        <a:off x="5167819" y="2204726"/>
        <a:ext cx="1264221" cy="373957"/>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381175" y="685800"/>
            <a:ext cx="60963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extLst>
      <p:ext uri="{BB962C8B-B14F-4D97-AF65-F5344CB8AC3E}">
        <p14:creationId xmlns:p14="http://schemas.microsoft.com/office/powerpoint/2010/main" val="1086216245"/>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Shape 5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9" name="Shape 59"/>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2779465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Shape 1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78" name="Shape 178"/>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556577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
        <p:cNvGrpSpPr/>
        <p:nvPr/>
      </p:nvGrpSpPr>
      <p:grpSpPr>
        <a:xfrm>
          <a:off x="0" y="0"/>
          <a:ext cx="0" cy="0"/>
          <a:chOff x="0" y="0"/>
          <a:chExt cx="0" cy="0"/>
        </a:xfrm>
      </p:grpSpPr>
      <p:sp>
        <p:nvSpPr>
          <p:cNvPr id="86" name="Shape 8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87" name="Shape 87"/>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1667959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8" name="Shape 108"/>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1625540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Shape 16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64" name="Shape 164"/>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1386679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8" name="Shape 108"/>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15342269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70081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508005" y="5159107"/>
            <a:ext cx="6306088" cy="3939540"/>
          </a:xfrm>
        </p:spPr>
        <p:txBody>
          <a:bodyPr/>
          <a:lstStyle/>
          <a:p>
            <a:endParaRPr lang="en-US" dirty="0"/>
          </a:p>
        </p:txBody>
      </p:sp>
      <p:sp>
        <p:nvSpPr>
          <p:cNvPr id="4" name="Slide Number Placeholder 3"/>
          <p:cNvSpPr>
            <a:spLocks noGrp="1"/>
          </p:cNvSpPr>
          <p:nvPr>
            <p:ph type="sldNum" sz="quarter" idx="10"/>
          </p:nvPr>
        </p:nvSpPr>
        <p:spPr>
          <a:xfrm>
            <a:off x="6644172" y="9227280"/>
            <a:ext cx="169918" cy="184666"/>
          </a:xfrm>
          <a:prstGeom prst="rect">
            <a:avLst/>
          </a:prstGeom>
        </p:spPr>
        <p:txBody>
          <a:bodyPr/>
          <a:lstStyle/>
          <a:p>
            <a:pPr>
              <a:defRPr/>
            </a:pPr>
            <a:fld id="{3C3A632B-FBDE-46D4-BF6F-6D14421E6342}" type="slidenum">
              <a:rPr lang="en-US" smtClean="0"/>
              <a:pPr>
                <a:defRPr/>
              </a:pPr>
              <a:t>10</a:t>
            </a:fld>
            <a:endParaRPr lang="en-US" dirty="0"/>
          </a:p>
        </p:txBody>
      </p:sp>
    </p:spTree>
    <p:extLst>
      <p:ext uri="{BB962C8B-B14F-4D97-AF65-F5344CB8AC3E}">
        <p14:creationId xmlns:p14="http://schemas.microsoft.com/office/powerpoint/2010/main" val="264448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8" name="Shape 108"/>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36147733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Shape 10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08" name="Shape 108"/>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spcBef>
                <a:spcPts val="0"/>
              </a:spcBef>
              <a:spcAft>
                <a:spcPts val="0"/>
              </a:spcAft>
              <a:buNone/>
            </a:pPr>
            <a:endParaRPr/>
          </a:p>
        </p:txBody>
      </p:sp>
    </p:spTree>
    <p:extLst>
      <p:ext uri="{BB962C8B-B14F-4D97-AF65-F5344CB8AC3E}">
        <p14:creationId xmlns:p14="http://schemas.microsoft.com/office/powerpoint/2010/main" val="13056146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p:spTree>
      <p:nvGrpSpPr>
        <p:cNvPr id="1" name="Shape 8"/>
        <p:cNvGrpSpPr/>
        <p:nvPr/>
      </p:nvGrpSpPr>
      <p:grpSpPr>
        <a:xfrm>
          <a:off x="0" y="0"/>
          <a:ext cx="0" cy="0"/>
          <a:chOff x="0" y="0"/>
          <a:chExt cx="0" cy="0"/>
        </a:xfrm>
      </p:grpSpPr>
      <p:sp>
        <p:nvSpPr>
          <p:cNvPr id="9" name="Shape 9"/>
          <p:cNvSpPr txBox="1">
            <a:spLocks noGrp="1"/>
          </p:cNvSpPr>
          <p:nvPr>
            <p:ph type="ctrTitle"/>
          </p:nvPr>
        </p:nvSpPr>
        <p:spPr>
          <a:xfrm>
            <a:off x="996630" y="2003888"/>
            <a:ext cx="4523700" cy="1159800"/>
          </a:xfrm>
          <a:prstGeom prst="rect">
            <a:avLst/>
          </a:prstGeom>
        </p:spPr>
        <p:txBody>
          <a:bodyPr spcFirstLastPara="1" wrap="square" lIns="91425" tIns="91425" rIns="91425" bIns="91425" anchor="b" anchorCtr="0"/>
          <a:lstStyle>
            <a:lvl1pPr lvl="0">
              <a:spcBef>
                <a:spcPts val="0"/>
              </a:spcBef>
              <a:spcAft>
                <a:spcPts val="0"/>
              </a:spcAft>
              <a:buSzPts val="3600"/>
              <a:buNone/>
              <a:defRPr sz="3600">
                <a:latin typeface="+mj-lt"/>
              </a:defRPr>
            </a:lvl1pPr>
            <a:lvl2pPr lvl="1">
              <a:spcBef>
                <a:spcPts val="0"/>
              </a:spcBef>
              <a:spcAft>
                <a:spcPts val="0"/>
              </a:spcAft>
              <a:buSzPts val="3600"/>
              <a:buNone/>
              <a:defRPr sz="3600"/>
            </a:lvl2pPr>
            <a:lvl3pPr lvl="2">
              <a:spcBef>
                <a:spcPts val="0"/>
              </a:spcBef>
              <a:spcAft>
                <a:spcPts val="0"/>
              </a:spcAft>
              <a:buSzPts val="3600"/>
              <a:buNone/>
              <a:defRPr sz="3600"/>
            </a:lvl3pPr>
            <a:lvl4pPr lvl="3">
              <a:spcBef>
                <a:spcPts val="0"/>
              </a:spcBef>
              <a:spcAft>
                <a:spcPts val="0"/>
              </a:spcAft>
              <a:buSzPts val="3600"/>
              <a:buNone/>
              <a:defRPr sz="3600"/>
            </a:lvl4pPr>
            <a:lvl5pPr lvl="4">
              <a:spcBef>
                <a:spcPts val="0"/>
              </a:spcBef>
              <a:spcAft>
                <a:spcPts val="0"/>
              </a:spcAft>
              <a:buSzPts val="3600"/>
              <a:buNone/>
              <a:defRPr sz="3600"/>
            </a:lvl5pPr>
            <a:lvl6pPr lvl="5">
              <a:spcBef>
                <a:spcPts val="0"/>
              </a:spcBef>
              <a:spcAft>
                <a:spcPts val="0"/>
              </a:spcAft>
              <a:buSzPts val="3600"/>
              <a:buNone/>
              <a:defRPr sz="3600"/>
            </a:lvl6pPr>
            <a:lvl7pPr lvl="6">
              <a:spcBef>
                <a:spcPts val="0"/>
              </a:spcBef>
              <a:spcAft>
                <a:spcPts val="0"/>
              </a:spcAft>
              <a:buSzPts val="3600"/>
              <a:buNone/>
              <a:defRPr sz="3600"/>
            </a:lvl7pPr>
            <a:lvl8pPr lvl="7">
              <a:spcBef>
                <a:spcPts val="0"/>
              </a:spcBef>
              <a:spcAft>
                <a:spcPts val="0"/>
              </a:spcAft>
              <a:buSzPts val="3600"/>
              <a:buNone/>
              <a:defRPr sz="3600"/>
            </a:lvl8pPr>
            <a:lvl9pPr lvl="8">
              <a:spcBef>
                <a:spcPts val="0"/>
              </a:spcBef>
              <a:spcAft>
                <a:spcPts val="0"/>
              </a:spcAft>
              <a:buSzPts val="3600"/>
              <a:buNone/>
              <a:defRPr sz="3600"/>
            </a:lvl9pPr>
          </a:lstStyle>
          <a:p>
            <a:r>
              <a:rPr lang="en-US"/>
              <a:t>Click to edit Master title style</a:t>
            </a:r>
            <a:endParaRPr dirty="0"/>
          </a:p>
        </p:txBody>
      </p:sp>
      <p:cxnSp>
        <p:nvCxnSpPr>
          <p:cNvPr id="10" name="Shape 10"/>
          <p:cNvCxnSpPr/>
          <p:nvPr/>
        </p:nvCxnSpPr>
        <p:spPr>
          <a:xfrm>
            <a:off x="-6025" y="3676512"/>
            <a:ext cx="9162000" cy="0"/>
          </a:xfrm>
          <a:prstGeom prst="straightConnector1">
            <a:avLst/>
          </a:prstGeom>
          <a:noFill/>
          <a:ln w="9525" cap="flat" cmpd="sng">
            <a:solidFill>
              <a:srgbClr val="000000"/>
            </a:solidFill>
            <a:prstDash val="solid"/>
            <a:round/>
            <a:headEnd type="none" w="lg" len="lg"/>
            <a:tailEnd type="none" w="lg" len="lg"/>
          </a:ln>
        </p:spPr>
      </p:cxnSp>
      <p:sp>
        <p:nvSpPr>
          <p:cNvPr id="11" name="Shape 11"/>
          <p:cNvSpPr/>
          <p:nvPr/>
        </p:nvSpPr>
        <p:spPr>
          <a:xfrm>
            <a:off x="1117950" y="3393000"/>
            <a:ext cx="567000" cy="567000"/>
          </a:xfrm>
          <a:prstGeom prst="ellipse">
            <a:avLst/>
          </a:prstGeom>
          <a:solidFill>
            <a:srgbClr val="FFCD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10506" y="3307692"/>
            <a:ext cx="2932176" cy="737616"/>
          </a:xfrm>
          <a:prstGeom prst="rect">
            <a:avLst/>
          </a:prstGeom>
          <a:ln w="79375">
            <a:solidFill>
              <a:schemeClr val="bg1"/>
            </a:solid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 1 column">
    <p:spTree>
      <p:nvGrpSpPr>
        <p:cNvPr id="1" name="Shape 23"/>
        <p:cNvGrpSpPr/>
        <p:nvPr/>
      </p:nvGrpSpPr>
      <p:grpSpPr>
        <a:xfrm>
          <a:off x="0" y="0"/>
          <a:ext cx="0" cy="0"/>
          <a:chOff x="0" y="0"/>
          <a:chExt cx="0" cy="0"/>
        </a:xfrm>
      </p:grpSpPr>
      <p:cxnSp>
        <p:nvCxnSpPr>
          <p:cNvPr id="24" name="Shape 24"/>
          <p:cNvCxnSpPr/>
          <p:nvPr/>
        </p:nvCxnSpPr>
        <p:spPr>
          <a:xfrm>
            <a:off x="0" y="1131725"/>
            <a:ext cx="1375800" cy="0"/>
          </a:xfrm>
          <a:prstGeom prst="straightConnector1">
            <a:avLst/>
          </a:prstGeom>
          <a:noFill/>
          <a:ln w="9525" cap="flat" cmpd="sng">
            <a:solidFill>
              <a:srgbClr val="CCCCCC"/>
            </a:solidFill>
            <a:prstDash val="solid"/>
            <a:round/>
            <a:headEnd type="none" w="lg" len="lg"/>
            <a:tailEnd type="none" w="lg" len="lg"/>
          </a:ln>
        </p:spPr>
      </p:cxnSp>
      <p:sp>
        <p:nvSpPr>
          <p:cNvPr id="25" name="Shape 25"/>
          <p:cNvSpPr/>
          <p:nvPr/>
        </p:nvSpPr>
        <p:spPr>
          <a:xfrm>
            <a:off x="817475" y="928767"/>
            <a:ext cx="405900" cy="405900"/>
          </a:xfrm>
          <a:prstGeom prst="ellipse">
            <a:avLst/>
          </a:prstGeom>
          <a:solidFill>
            <a:srgbClr val="FFCD00"/>
          </a:solidFill>
          <a:ln>
            <a:noFill/>
          </a:ln>
        </p:spPr>
        <p:txBody>
          <a:bodyPr spcFirstLastPara="1" wrap="square" lIns="91425" tIns="91425" rIns="91425" bIns="91425" anchor="ctr" anchorCtr="0">
            <a:noAutofit/>
          </a:bodyPr>
          <a:lstStyle/>
          <a:p>
            <a:pPr marL="0" lvl="0" indent="0" rtl="0">
              <a:spcBef>
                <a:spcPts val="0"/>
              </a:spcBef>
              <a:spcAft>
                <a:spcPts val="0"/>
              </a:spcAft>
              <a:buNone/>
            </a:pPr>
            <a:endParaRPr/>
          </a:p>
        </p:txBody>
      </p:sp>
      <p:sp>
        <p:nvSpPr>
          <p:cNvPr id="26" name="Shape 26"/>
          <p:cNvSpPr txBox="1">
            <a:spLocks noGrp="1"/>
          </p:cNvSpPr>
          <p:nvPr>
            <p:ph type="title"/>
          </p:nvPr>
        </p:nvSpPr>
        <p:spPr>
          <a:xfrm>
            <a:off x="1381250" y="922668"/>
            <a:ext cx="6809700" cy="435600"/>
          </a:xfrm>
          <a:prstGeom prst="rect">
            <a:avLst/>
          </a:prstGeom>
          <a:solidFill>
            <a:schemeClr val="bg1"/>
          </a:solidFill>
        </p:spPr>
        <p:txBody>
          <a:bodyPr spcFirstLastPara="1" wrap="square" lIns="91425" tIns="91425" rIns="91425" bIns="91425" anchor="ctr" anchorCtr="0"/>
          <a:lstStyle>
            <a:lvl1pPr lvl="0" rtl="0">
              <a:spcBef>
                <a:spcPts val="0"/>
              </a:spcBef>
              <a:spcAft>
                <a:spcPts val="0"/>
              </a:spcAft>
              <a:buSzPts val="2000"/>
              <a:buFont typeface="Lora"/>
              <a:buNone/>
              <a:defRPr sz="2800" b="1">
                <a:latin typeface="+mj-lt"/>
                <a:ea typeface="Lora"/>
                <a:cs typeface="Lora"/>
                <a:sym typeface="Lora"/>
              </a:defRPr>
            </a:lvl1pPr>
            <a:lvl2pPr lvl="1" rtl="0">
              <a:spcBef>
                <a:spcPts val="0"/>
              </a:spcBef>
              <a:spcAft>
                <a:spcPts val="0"/>
              </a:spcAft>
              <a:buSzPts val="2000"/>
              <a:buFont typeface="Lora"/>
              <a:buNone/>
              <a:defRPr sz="2000" b="1">
                <a:highlight>
                  <a:srgbClr val="FFFFFF"/>
                </a:highlight>
                <a:latin typeface="Lora"/>
                <a:ea typeface="Lora"/>
                <a:cs typeface="Lora"/>
                <a:sym typeface="Lora"/>
              </a:defRPr>
            </a:lvl2pPr>
            <a:lvl3pPr lvl="2" rtl="0">
              <a:spcBef>
                <a:spcPts val="0"/>
              </a:spcBef>
              <a:spcAft>
                <a:spcPts val="0"/>
              </a:spcAft>
              <a:buSzPts val="2000"/>
              <a:buFont typeface="Lora"/>
              <a:buNone/>
              <a:defRPr sz="2000" b="1">
                <a:highlight>
                  <a:srgbClr val="FFFFFF"/>
                </a:highlight>
                <a:latin typeface="Lora"/>
                <a:ea typeface="Lora"/>
                <a:cs typeface="Lora"/>
                <a:sym typeface="Lora"/>
              </a:defRPr>
            </a:lvl3pPr>
            <a:lvl4pPr lvl="3" rtl="0">
              <a:spcBef>
                <a:spcPts val="0"/>
              </a:spcBef>
              <a:spcAft>
                <a:spcPts val="0"/>
              </a:spcAft>
              <a:buSzPts val="2000"/>
              <a:buFont typeface="Lora"/>
              <a:buNone/>
              <a:defRPr sz="2000" b="1">
                <a:highlight>
                  <a:srgbClr val="FFFFFF"/>
                </a:highlight>
                <a:latin typeface="Lora"/>
                <a:ea typeface="Lora"/>
                <a:cs typeface="Lora"/>
                <a:sym typeface="Lora"/>
              </a:defRPr>
            </a:lvl4pPr>
            <a:lvl5pPr lvl="4" rtl="0">
              <a:spcBef>
                <a:spcPts val="0"/>
              </a:spcBef>
              <a:spcAft>
                <a:spcPts val="0"/>
              </a:spcAft>
              <a:buSzPts val="2000"/>
              <a:buFont typeface="Lora"/>
              <a:buNone/>
              <a:defRPr sz="2000" b="1">
                <a:highlight>
                  <a:srgbClr val="FFFFFF"/>
                </a:highlight>
                <a:latin typeface="Lora"/>
                <a:ea typeface="Lora"/>
                <a:cs typeface="Lora"/>
                <a:sym typeface="Lora"/>
              </a:defRPr>
            </a:lvl5pPr>
            <a:lvl6pPr lvl="5" rtl="0">
              <a:spcBef>
                <a:spcPts val="0"/>
              </a:spcBef>
              <a:spcAft>
                <a:spcPts val="0"/>
              </a:spcAft>
              <a:buSzPts val="2000"/>
              <a:buFont typeface="Lora"/>
              <a:buNone/>
              <a:defRPr sz="2000" b="1">
                <a:highlight>
                  <a:srgbClr val="FFFFFF"/>
                </a:highlight>
                <a:latin typeface="Lora"/>
                <a:ea typeface="Lora"/>
                <a:cs typeface="Lora"/>
                <a:sym typeface="Lora"/>
              </a:defRPr>
            </a:lvl6pPr>
            <a:lvl7pPr lvl="6" rtl="0">
              <a:spcBef>
                <a:spcPts val="0"/>
              </a:spcBef>
              <a:spcAft>
                <a:spcPts val="0"/>
              </a:spcAft>
              <a:buSzPts val="2000"/>
              <a:buFont typeface="Lora"/>
              <a:buNone/>
              <a:defRPr sz="2000" b="1">
                <a:highlight>
                  <a:srgbClr val="FFFFFF"/>
                </a:highlight>
                <a:latin typeface="Lora"/>
                <a:ea typeface="Lora"/>
                <a:cs typeface="Lora"/>
                <a:sym typeface="Lora"/>
              </a:defRPr>
            </a:lvl7pPr>
            <a:lvl8pPr lvl="7" rtl="0">
              <a:spcBef>
                <a:spcPts val="0"/>
              </a:spcBef>
              <a:spcAft>
                <a:spcPts val="0"/>
              </a:spcAft>
              <a:buSzPts val="2000"/>
              <a:buFont typeface="Lora"/>
              <a:buNone/>
              <a:defRPr sz="2000" b="1">
                <a:highlight>
                  <a:srgbClr val="FFFFFF"/>
                </a:highlight>
                <a:latin typeface="Lora"/>
                <a:ea typeface="Lora"/>
                <a:cs typeface="Lora"/>
                <a:sym typeface="Lora"/>
              </a:defRPr>
            </a:lvl8pPr>
            <a:lvl9pPr lvl="8" rtl="0">
              <a:spcBef>
                <a:spcPts val="0"/>
              </a:spcBef>
              <a:spcAft>
                <a:spcPts val="0"/>
              </a:spcAft>
              <a:buSzPts val="2000"/>
              <a:buFont typeface="Lora"/>
              <a:buNone/>
              <a:defRPr sz="2000" b="1">
                <a:highlight>
                  <a:srgbClr val="FFFFFF"/>
                </a:highlight>
                <a:latin typeface="Lora"/>
                <a:ea typeface="Lora"/>
                <a:cs typeface="Lora"/>
                <a:sym typeface="Lora"/>
              </a:defRPr>
            </a:lvl9pPr>
          </a:lstStyle>
          <a:p>
            <a:r>
              <a:rPr lang="en-US" dirty="0"/>
              <a:t>Click to edit Master title style</a:t>
            </a:r>
            <a:endParaRPr dirty="0"/>
          </a:p>
        </p:txBody>
      </p:sp>
      <p:sp>
        <p:nvSpPr>
          <p:cNvPr id="27" name="Shape 27"/>
          <p:cNvSpPr txBox="1">
            <a:spLocks noGrp="1"/>
          </p:cNvSpPr>
          <p:nvPr>
            <p:ph type="body" idx="1"/>
          </p:nvPr>
        </p:nvSpPr>
        <p:spPr>
          <a:xfrm>
            <a:off x="1381250" y="1616470"/>
            <a:ext cx="6809700" cy="3112200"/>
          </a:xfrm>
          <a:prstGeom prst="rect">
            <a:avLst/>
          </a:prstGeom>
        </p:spPr>
        <p:txBody>
          <a:bodyPr spcFirstLastPara="1" wrap="square" lIns="91425" tIns="91425" rIns="91425" bIns="91425" anchor="t" anchorCtr="0"/>
          <a:lstStyle>
            <a:lvl1pPr marL="457200" lvl="0" indent="-381000" rtl="0">
              <a:spcBef>
                <a:spcPts val="600"/>
              </a:spcBef>
              <a:spcAft>
                <a:spcPts val="0"/>
              </a:spcAft>
              <a:buClr>
                <a:srgbClr val="FFCD00"/>
              </a:buClr>
              <a:buSzPts val="2400"/>
              <a:buFont typeface="Quattrocento Sans"/>
              <a:buChar char="◉"/>
              <a:defRPr sz="2400">
                <a:latin typeface="+mn-lt"/>
                <a:ea typeface="Quattrocento Sans"/>
                <a:cs typeface="Quattrocento Sans"/>
                <a:sym typeface="Quattrocento Sans"/>
              </a:defRPr>
            </a:lvl1pPr>
            <a:lvl2pPr marL="914400" lvl="1" indent="-355600" rtl="0">
              <a:spcBef>
                <a:spcPts val="0"/>
              </a:spcBef>
              <a:spcAft>
                <a:spcPts val="0"/>
              </a:spcAft>
              <a:buClr>
                <a:srgbClr val="FFCD00"/>
              </a:buClr>
              <a:buSzPts val="2000"/>
              <a:buFont typeface="Quattrocento Sans"/>
              <a:buChar char="○"/>
              <a:defRPr sz="2000">
                <a:latin typeface="Quattrocento Sans"/>
                <a:ea typeface="Quattrocento Sans"/>
                <a:cs typeface="Quattrocento Sans"/>
                <a:sym typeface="Quattrocento Sans"/>
              </a:defRPr>
            </a:lvl2pPr>
            <a:lvl3pPr marL="1371600" lvl="2" indent="-355600" rtl="0">
              <a:spcBef>
                <a:spcPts val="0"/>
              </a:spcBef>
              <a:spcAft>
                <a:spcPts val="0"/>
              </a:spcAft>
              <a:buClr>
                <a:srgbClr val="FFCD00"/>
              </a:buClr>
              <a:buSzPts val="2000"/>
              <a:buFont typeface="Quattrocento Sans"/>
              <a:buChar char="■"/>
              <a:defRPr sz="2000">
                <a:latin typeface="Quattrocento Sans"/>
                <a:ea typeface="Quattrocento Sans"/>
                <a:cs typeface="Quattrocento Sans"/>
                <a:sym typeface="Quattrocento Sans"/>
              </a:defRPr>
            </a:lvl3pPr>
            <a:lvl4pPr marL="1828800" lvl="3" indent="-342900" rtl="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4pPr>
            <a:lvl5pPr marL="2286000" lvl="4" indent="-342900" rtl="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5pPr>
            <a:lvl6pPr marL="2743200" lvl="5" indent="-342900" rtl="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6pPr>
            <a:lvl7pPr marL="3200400" lvl="6" indent="-342900" rtl="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7pPr>
            <a:lvl8pPr marL="3657600" lvl="7" indent="-342900" rtl="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8pPr>
            <a:lvl9pPr marL="4114800" lvl="8" indent="-342900" rtl="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9pPr>
          </a:lstStyle>
          <a:p>
            <a:pPr lvl="0"/>
            <a:r>
              <a:rPr lang="en-US"/>
              <a:t>Edit Master text styles</a:t>
            </a:r>
          </a:p>
        </p:txBody>
      </p:sp>
      <p:cxnSp>
        <p:nvCxnSpPr>
          <p:cNvPr id="28" name="Shape 28"/>
          <p:cNvCxnSpPr/>
          <p:nvPr/>
        </p:nvCxnSpPr>
        <p:spPr>
          <a:xfrm>
            <a:off x="5265650" y="1131725"/>
            <a:ext cx="3878400" cy="0"/>
          </a:xfrm>
          <a:prstGeom prst="straightConnector1">
            <a:avLst/>
          </a:prstGeom>
          <a:noFill/>
          <a:ln w="9525" cap="flat" cmpd="sng">
            <a:solidFill>
              <a:srgbClr val="CCCCCC"/>
            </a:solidFill>
            <a:prstDash val="solid"/>
            <a:round/>
            <a:headEnd type="none" w="lg" len="lg"/>
            <a:tailEnd type="none" w="lg" len="lg"/>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53"/>
        <p:cNvGrpSpPr/>
        <p:nvPr/>
      </p:nvGrpSpPr>
      <p:grpSpPr>
        <a:xfrm>
          <a:off x="0" y="0"/>
          <a:ext cx="0" cy="0"/>
          <a:chOff x="0" y="0"/>
          <a:chExt cx="0" cy="0"/>
        </a:xfrm>
      </p:grpSpPr>
      <p:cxnSp>
        <p:nvCxnSpPr>
          <p:cNvPr id="54" name="Shape 54"/>
          <p:cNvCxnSpPr/>
          <p:nvPr/>
        </p:nvCxnSpPr>
        <p:spPr>
          <a:xfrm>
            <a:off x="0" y="3101489"/>
            <a:ext cx="9162000" cy="0"/>
          </a:xfrm>
          <a:prstGeom prst="straightConnector1">
            <a:avLst/>
          </a:prstGeom>
          <a:noFill/>
          <a:ln w="9525" cap="flat" cmpd="sng">
            <a:solidFill>
              <a:srgbClr val="CCCCCC"/>
            </a:solidFill>
            <a:prstDash val="solid"/>
            <a:round/>
            <a:headEnd type="none" w="lg" len="lg"/>
            <a:tailEnd type="none" w="lg" len="lg"/>
          </a:ln>
        </p:spPr>
      </p:cxnSp>
      <p:sp>
        <p:nvSpPr>
          <p:cNvPr id="55" name="Shape 55"/>
          <p:cNvSpPr/>
          <p:nvPr/>
        </p:nvSpPr>
        <p:spPr>
          <a:xfrm>
            <a:off x="4120865" y="2644165"/>
            <a:ext cx="908220" cy="908220"/>
          </a:xfrm>
          <a:prstGeom prst="ellipse">
            <a:avLst/>
          </a:prstGeom>
          <a:solidFill>
            <a:srgbClr val="FFCD00"/>
          </a:solidFill>
          <a:ln>
            <a:noFill/>
          </a:ln>
        </p:spPr>
        <p:txBody>
          <a:bodyPr spcFirstLastPara="1" wrap="square" lIns="91425" tIns="91425" rIns="91425" bIns="91425" anchor="ctr" anchorCtr="0">
            <a:noAutofit/>
          </a:bodyPr>
          <a:lstStyle/>
          <a:p>
            <a:pPr marL="0" lvl="0" indent="0" rtl="0">
              <a:spcBef>
                <a:spcPts val="0"/>
              </a:spcBef>
              <a:spcAft>
                <a:spcPts val="0"/>
              </a:spcAft>
              <a:buNone/>
            </a:pP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ompletely blank">
    <p:spTree>
      <p:nvGrpSpPr>
        <p:cNvPr id="1" name="Shape 56"/>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1381250" y="937125"/>
            <a:ext cx="3878400" cy="435600"/>
          </a:xfrm>
          <a:prstGeom prst="rect">
            <a:avLst/>
          </a:prstGeom>
          <a:solidFill>
            <a:schemeClr val="bg1"/>
          </a:solidFill>
        </p:spPr>
        <p:txBody>
          <a:bodyPr spcFirstLastPara="1" wrap="square" lIns="91425" tIns="91425" rIns="91425" bIns="91425" anchor="ctr" anchorCtr="0"/>
          <a:lstStyle>
            <a:lvl1pPr lvl="0">
              <a:spcBef>
                <a:spcPts val="0"/>
              </a:spcBef>
              <a:spcAft>
                <a:spcPts val="0"/>
              </a:spcAft>
              <a:buSzPts val="2000"/>
              <a:buNone/>
              <a:defRPr>
                <a:latin typeface="+mj-lt"/>
              </a:defRPr>
            </a:lvl1pPr>
            <a:lvl2pPr lvl="1">
              <a:spcBef>
                <a:spcPts val="0"/>
              </a:spcBef>
              <a:spcAft>
                <a:spcPts val="0"/>
              </a:spcAft>
              <a:buSzPts val="2000"/>
              <a:buNone/>
              <a:defRPr/>
            </a:lvl2pPr>
            <a:lvl3pPr lvl="2">
              <a:spcBef>
                <a:spcPts val="0"/>
              </a:spcBef>
              <a:spcAft>
                <a:spcPts val="0"/>
              </a:spcAft>
              <a:buSzPts val="2000"/>
              <a:buNone/>
              <a:defRPr/>
            </a:lvl3pPr>
            <a:lvl4pPr lvl="3">
              <a:spcBef>
                <a:spcPts val="0"/>
              </a:spcBef>
              <a:spcAft>
                <a:spcPts val="0"/>
              </a:spcAft>
              <a:buSzPts val="2000"/>
              <a:buNone/>
              <a:defRPr/>
            </a:lvl4pPr>
            <a:lvl5pPr lvl="4">
              <a:spcBef>
                <a:spcPts val="0"/>
              </a:spcBef>
              <a:spcAft>
                <a:spcPts val="0"/>
              </a:spcAft>
              <a:buSzPts val="2000"/>
              <a:buNone/>
              <a:defRPr/>
            </a:lvl5pPr>
            <a:lvl6pPr lvl="5">
              <a:spcBef>
                <a:spcPts val="0"/>
              </a:spcBef>
              <a:spcAft>
                <a:spcPts val="0"/>
              </a:spcAft>
              <a:buSzPts val="2000"/>
              <a:buNone/>
              <a:defRPr/>
            </a:lvl6pPr>
            <a:lvl7pPr lvl="6">
              <a:spcBef>
                <a:spcPts val="0"/>
              </a:spcBef>
              <a:spcAft>
                <a:spcPts val="0"/>
              </a:spcAft>
              <a:buSzPts val="2000"/>
              <a:buNone/>
              <a:defRPr/>
            </a:lvl7pPr>
            <a:lvl8pPr lvl="7">
              <a:spcBef>
                <a:spcPts val="0"/>
              </a:spcBef>
              <a:spcAft>
                <a:spcPts val="0"/>
              </a:spcAft>
              <a:buSzPts val="2000"/>
              <a:buNone/>
              <a:defRPr/>
            </a:lvl8pPr>
            <a:lvl9pPr lvl="8">
              <a:spcBef>
                <a:spcPts val="0"/>
              </a:spcBef>
              <a:spcAft>
                <a:spcPts val="0"/>
              </a:spcAft>
              <a:buSzPts val="2000"/>
              <a:buNone/>
              <a:defRPr/>
            </a:lvl9pPr>
          </a:lstStyle>
          <a:p>
            <a:r>
              <a:rPr lang="en-US" dirty="0"/>
              <a:t>Click to edit Master title style</a:t>
            </a:r>
            <a:endParaRPr dirty="0"/>
          </a:p>
        </p:txBody>
      </p:sp>
      <p:cxnSp>
        <p:nvCxnSpPr>
          <p:cNvPr id="46" name="Shape 46"/>
          <p:cNvCxnSpPr/>
          <p:nvPr/>
        </p:nvCxnSpPr>
        <p:spPr>
          <a:xfrm>
            <a:off x="0" y="1131725"/>
            <a:ext cx="1375800" cy="0"/>
          </a:xfrm>
          <a:prstGeom prst="straightConnector1">
            <a:avLst/>
          </a:prstGeom>
          <a:noFill/>
          <a:ln w="9525" cap="flat" cmpd="sng">
            <a:solidFill>
              <a:srgbClr val="CCCCCC"/>
            </a:solidFill>
            <a:prstDash val="solid"/>
            <a:round/>
            <a:headEnd type="none" w="lg" len="lg"/>
            <a:tailEnd type="none" w="lg" len="lg"/>
          </a:ln>
        </p:spPr>
      </p:cxnSp>
      <p:sp>
        <p:nvSpPr>
          <p:cNvPr id="47" name="Shape 47"/>
          <p:cNvSpPr/>
          <p:nvPr/>
        </p:nvSpPr>
        <p:spPr>
          <a:xfrm>
            <a:off x="817475" y="928767"/>
            <a:ext cx="405900" cy="405900"/>
          </a:xfrm>
          <a:prstGeom prst="ellipse">
            <a:avLst/>
          </a:prstGeom>
          <a:solidFill>
            <a:srgbClr val="FFCD00"/>
          </a:solidFill>
          <a:ln>
            <a:noFill/>
          </a:ln>
        </p:spPr>
        <p:txBody>
          <a:bodyPr spcFirstLastPara="1" wrap="square" lIns="91425" tIns="91425" rIns="91425" bIns="91425" anchor="ctr" anchorCtr="0">
            <a:noAutofit/>
          </a:bodyPr>
          <a:lstStyle/>
          <a:p>
            <a:pPr marL="0" lvl="0" indent="0" rtl="0">
              <a:spcBef>
                <a:spcPts val="0"/>
              </a:spcBef>
              <a:spcAft>
                <a:spcPts val="0"/>
              </a:spcAft>
              <a:buNone/>
            </a:pPr>
            <a:endParaRPr/>
          </a:p>
        </p:txBody>
      </p:sp>
      <p:cxnSp>
        <p:nvCxnSpPr>
          <p:cNvPr id="48" name="Shape 48"/>
          <p:cNvCxnSpPr/>
          <p:nvPr/>
        </p:nvCxnSpPr>
        <p:spPr>
          <a:xfrm>
            <a:off x="5265650" y="1131725"/>
            <a:ext cx="3878400" cy="0"/>
          </a:xfrm>
          <a:prstGeom prst="straightConnector1">
            <a:avLst/>
          </a:prstGeom>
          <a:noFill/>
          <a:ln w="9525" cap="flat" cmpd="sng">
            <a:solidFill>
              <a:srgbClr val="CCCCCC"/>
            </a:solidFill>
            <a:prstDash val="solid"/>
            <a:round/>
            <a:headEnd type="none" w="lg" len="lg"/>
            <a:tailEnd type="none" w="lg" len="lg"/>
          </a:ln>
        </p:spPr>
      </p:cxnSp>
    </p:spTree>
    <p:extLst>
      <p:ext uri="{BB962C8B-B14F-4D97-AF65-F5344CB8AC3E}">
        <p14:creationId xmlns:p14="http://schemas.microsoft.com/office/powerpoint/2010/main" val="232313766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body" idx="1"/>
          </p:nvPr>
        </p:nvSpPr>
        <p:spPr>
          <a:xfrm>
            <a:off x="1381250" y="1616470"/>
            <a:ext cx="6809700" cy="3112200"/>
          </a:xfrm>
          <a:prstGeom prst="rect">
            <a:avLst/>
          </a:prstGeom>
          <a:noFill/>
          <a:ln>
            <a:noFill/>
          </a:ln>
        </p:spPr>
        <p:txBody>
          <a:bodyPr spcFirstLastPara="1" wrap="square" lIns="91425" tIns="91425" rIns="91425" bIns="91425" anchor="t" anchorCtr="0"/>
          <a:lstStyle>
            <a:lvl1pPr marL="457200" lvl="0" indent="-381000">
              <a:spcBef>
                <a:spcPts val="600"/>
              </a:spcBef>
              <a:spcAft>
                <a:spcPts val="0"/>
              </a:spcAft>
              <a:buClr>
                <a:srgbClr val="FFCD00"/>
              </a:buClr>
              <a:buSzPts val="2400"/>
              <a:buFont typeface="Quattrocento Sans"/>
              <a:buChar char="◉"/>
              <a:defRPr sz="2400">
                <a:latin typeface="Quattrocento Sans"/>
                <a:ea typeface="Quattrocento Sans"/>
                <a:cs typeface="Quattrocento Sans"/>
                <a:sym typeface="Quattrocento Sans"/>
              </a:defRPr>
            </a:lvl1pPr>
            <a:lvl2pPr marL="914400" lvl="1" indent="-355600">
              <a:spcBef>
                <a:spcPts val="0"/>
              </a:spcBef>
              <a:spcAft>
                <a:spcPts val="0"/>
              </a:spcAft>
              <a:buClr>
                <a:srgbClr val="FFCD00"/>
              </a:buClr>
              <a:buSzPts val="2000"/>
              <a:buFont typeface="Quattrocento Sans"/>
              <a:buChar char="○"/>
              <a:defRPr sz="2000">
                <a:latin typeface="Quattrocento Sans"/>
                <a:ea typeface="Quattrocento Sans"/>
                <a:cs typeface="Quattrocento Sans"/>
                <a:sym typeface="Quattrocento Sans"/>
              </a:defRPr>
            </a:lvl2pPr>
            <a:lvl3pPr marL="1371600" lvl="2" indent="-355600">
              <a:spcBef>
                <a:spcPts val="0"/>
              </a:spcBef>
              <a:spcAft>
                <a:spcPts val="0"/>
              </a:spcAft>
              <a:buClr>
                <a:srgbClr val="FFCD00"/>
              </a:buClr>
              <a:buSzPts val="2000"/>
              <a:buFont typeface="Quattrocento Sans"/>
              <a:buChar char="■"/>
              <a:defRPr sz="2000">
                <a:latin typeface="Quattrocento Sans"/>
                <a:ea typeface="Quattrocento Sans"/>
                <a:cs typeface="Quattrocento Sans"/>
                <a:sym typeface="Quattrocento Sans"/>
              </a:defRPr>
            </a:lvl3pPr>
            <a:lvl4pPr marL="1828800" lvl="3" indent="-34290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4pPr>
            <a:lvl5pPr marL="2286000" lvl="4" indent="-34290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5pPr>
            <a:lvl6pPr marL="2743200" lvl="5" indent="-34290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6pPr>
            <a:lvl7pPr marL="3200400" lvl="6" indent="-34290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7pPr>
            <a:lvl8pPr marL="3657600" lvl="7" indent="-34290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8pPr>
            <a:lvl9pPr marL="4114800" lvl="8" indent="-342900">
              <a:spcBef>
                <a:spcPts val="0"/>
              </a:spcBef>
              <a:spcAft>
                <a:spcPts val="0"/>
              </a:spcAft>
              <a:buClr>
                <a:srgbClr val="FFCD00"/>
              </a:buClr>
              <a:buSzPts val="1800"/>
              <a:buFont typeface="Quattrocento Sans"/>
              <a:buChar char="■"/>
              <a:defRPr sz="1800">
                <a:latin typeface="Quattrocento Sans"/>
                <a:ea typeface="Quattrocento Sans"/>
                <a:cs typeface="Quattrocento Sans"/>
                <a:sym typeface="Quattrocento Sans"/>
              </a:defRPr>
            </a:lvl9pPr>
          </a:lstStyle>
          <a:p>
            <a:endParaRPr dirty="0"/>
          </a:p>
        </p:txBody>
      </p:sp>
      <p:sp>
        <p:nvSpPr>
          <p:cNvPr id="7" name="Shape 7"/>
          <p:cNvSpPr txBox="1">
            <a:spLocks noGrp="1"/>
          </p:cNvSpPr>
          <p:nvPr>
            <p:ph type="title"/>
          </p:nvPr>
        </p:nvSpPr>
        <p:spPr>
          <a:xfrm>
            <a:off x="1381250" y="937117"/>
            <a:ext cx="6809700" cy="435600"/>
          </a:xfrm>
          <a:prstGeom prst="rect">
            <a:avLst/>
          </a:prstGeom>
          <a:noFill/>
          <a:ln>
            <a:noFill/>
          </a:ln>
        </p:spPr>
        <p:txBody>
          <a:bodyPr spcFirstLastPara="1" wrap="square" lIns="91425" tIns="91425" rIns="91425" bIns="91425" anchor="ctr" anchorCtr="0"/>
          <a:lstStyle>
            <a:lvl1pPr lvl="0">
              <a:spcBef>
                <a:spcPts val="0"/>
              </a:spcBef>
              <a:spcAft>
                <a:spcPts val="0"/>
              </a:spcAft>
              <a:buSzPts val="2000"/>
              <a:buFont typeface="Lora"/>
              <a:buNone/>
              <a:defRPr sz="2000" b="1">
                <a:latin typeface="Lora"/>
                <a:ea typeface="Lora"/>
                <a:cs typeface="Lora"/>
                <a:sym typeface="Lora"/>
              </a:defRPr>
            </a:lvl1pPr>
            <a:lvl2pPr lvl="1">
              <a:spcBef>
                <a:spcPts val="0"/>
              </a:spcBef>
              <a:spcAft>
                <a:spcPts val="0"/>
              </a:spcAft>
              <a:buSzPts val="2000"/>
              <a:buFont typeface="Lora"/>
              <a:buNone/>
              <a:defRPr sz="2000" b="1">
                <a:latin typeface="Lora"/>
                <a:ea typeface="Lora"/>
                <a:cs typeface="Lora"/>
                <a:sym typeface="Lora"/>
              </a:defRPr>
            </a:lvl2pPr>
            <a:lvl3pPr lvl="2">
              <a:spcBef>
                <a:spcPts val="0"/>
              </a:spcBef>
              <a:spcAft>
                <a:spcPts val="0"/>
              </a:spcAft>
              <a:buSzPts val="2000"/>
              <a:buFont typeface="Lora"/>
              <a:buNone/>
              <a:defRPr sz="2000" b="1">
                <a:latin typeface="Lora"/>
                <a:ea typeface="Lora"/>
                <a:cs typeface="Lora"/>
                <a:sym typeface="Lora"/>
              </a:defRPr>
            </a:lvl3pPr>
            <a:lvl4pPr lvl="3">
              <a:spcBef>
                <a:spcPts val="0"/>
              </a:spcBef>
              <a:spcAft>
                <a:spcPts val="0"/>
              </a:spcAft>
              <a:buSzPts val="2000"/>
              <a:buFont typeface="Lora"/>
              <a:buNone/>
              <a:defRPr sz="2000" b="1">
                <a:latin typeface="Lora"/>
                <a:ea typeface="Lora"/>
                <a:cs typeface="Lora"/>
                <a:sym typeface="Lora"/>
              </a:defRPr>
            </a:lvl4pPr>
            <a:lvl5pPr lvl="4">
              <a:spcBef>
                <a:spcPts val="0"/>
              </a:spcBef>
              <a:spcAft>
                <a:spcPts val="0"/>
              </a:spcAft>
              <a:buSzPts val="2000"/>
              <a:buFont typeface="Lora"/>
              <a:buNone/>
              <a:defRPr sz="2000" b="1">
                <a:latin typeface="Lora"/>
                <a:ea typeface="Lora"/>
                <a:cs typeface="Lora"/>
                <a:sym typeface="Lora"/>
              </a:defRPr>
            </a:lvl5pPr>
            <a:lvl6pPr lvl="5">
              <a:spcBef>
                <a:spcPts val="0"/>
              </a:spcBef>
              <a:spcAft>
                <a:spcPts val="0"/>
              </a:spcAft>
              <a:buSzPts val="2000"/>
              <a:buFont typeface="Lora"/>
              <a:buNone/>
              <a:defRPr sz="2000" b="1">
                <a:latin typeface="Lora"/>
                <a:ea typeface="Lora"/>
                <a:cs typeface="Lora"/>
                <a:sym typeface="Lora"/>
              </a:defRPr>
            </a:lvl6pPr>
            <a:lvl7pPr lvl="6">
              <a:spcBef>
                <a:spcPts val="0"/>
              </a:spcBef>
              <a:spcAft>
                <a:spcPts val="0"/>
              </a:spcAft>
              <a:buSzPts val="2000"/>
              <a:buFont typeface="Lora"/>
              <a:buNone/>
              <a:defRPr sz="2000" b="1">
                <a:latin typeface="Lora"/>
                <a:ea typeface="Lora"/>
                <a:cs typeface="Lora"/>
                <a:sym typeface="Lora"/>
              </a:defRPr>
            </a:lvl7pPr>
            <a:lvl8pPr lvl="7">
              <a:spcBef>
                <a:spcPts val="0"/>
              </a:spcBef>
              <a:spcAft>
                <a:spcPts val="0"/>
              </a:spcAft>
              <a:buSzPts val="2000"/>
              <a:buFont typeface="Lora"/>
              <a:buNone/>
              <a:defRPr sz="2000" b="1">
                <a:latin typeface="Lora"/>
                <a:ea typeface="Lora"/>
                <a:cs typeface="Lora"/>
                <a:sym typeface="Lora"/>
              </a:defRPr>
            </a:lvl8pPr>
            <a:lvl9pPr lvl="8">
              <a:spcBef>
                <a:spcPts val="0"/>
              </a:spcBef>
              <a:spcAft>
                <a:spcPts val="0"/>
              </a:spcAft>
              <a:buSzPts val="2000"/>
              <a:buFont typeface="Lora"/>
              <a:buNone/>
              <a:defRPr sz="2000" b="1">
                <a:latin typeface="Lora"/>
                <a:ea typeface="Lora"/>
                <a:cs typeface="Lora"/>
                <a:sym typeface="Lora"/>
              </a:defRPr>
            </a:lvl9pPr>
          </a:lstStyle>
          <a:p>
            <a:r>
              <a:rPr lang="en-US" dirty="0"/>
              <a:t>Click to add text</a:t>
            </a:r>
            <a:endParaRPr dirty="0"/>
          </a:p>
        </p:txBody>
      </p:sp>
    </p:spTree>
  </p:cSld>
  <p:clrMap bg1="lt1" tx1="dk1" bg2="dk2" tx2="lt2" accent1="accent1" accent2="accent2" accent3="accent3" accent4="accent4" accent5="accent5" accent6="accent6" hlink="hlink" folHlink="folHlink"/>
  <p:sldLayoutIdLst>
    <p:sldLayoutId id="2147483648" r:id="rId1"/>
    <p:sldLayoutId id="2147483651" r:id="rId2"/>
    <p:sldLayoutId id="2147483656" r:id="rId3"/>
    <p:sldLayoutId id="2147483657" r:id="rId4"/>
    <p:sldLayoutId id="2147483660" r:id="rId5"/>
  </p:sldLayoutIdLst>
  <p:transition>
    <p:fade thruBlk="1"/>
  </p:transition>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1" i="0" u="none" strike="noStrike" cap="none" baseline="0">
          <a:solidFill>
            <a:srgbClr val="000000"/>
          </a:solidFill>
          <a:latin typeface="+mj-lt"/>
          <a:ea typeface="Avenir Black" charset="0"/>
          <a:cs typeface="Avenir Black" charset="0"/>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sp>
        <p:nvSpPr>
          <p:cNvPr id="61" name="Shape 61"/>
          <p:cNvSpPr txBox="1">
            <a:spLocks noGrp="1"/>
          </p:cNvSpPr>
          <p:nvPr>
            <p:ph type="ctrTitle"/>
          </p:nvPr>
        </p:nvSpPr>
        <p:spPr>
          <a:xfrm>
            <a:off x="996629" y="2003888"/>
            <a:ext cx="6240193" cy="1159800"/>
          </a:xfrm>
          <a:prstGeom prst="rect">
            <a:avLst/>
          </a:prstGeom>
        </p:spPr>
        <p:txBody>
          <a:bodyPr spcFirstLastPara="1" wrap="square" lIns="91425" tIns="91425" rIns="91425" bIns="91425" anchor="b" anchorCtr="0">
            <a:noAutofit/>
          </a:bodyPr>
          <a:lstStyle/>
          <a:p>
            <a:pPr lvl="0"/>
            <a:r>
              <a:rPr lang="en-US" dirty="0"/>
              <a:t>Lighting up and </a:t>
            </a:r>
            <a:r>
              <a:rPr lang="en-US" dirty="0">
                <a:highlight>
                  <a:srgbClr val="FFCD00"/>
                </a:highlight>
                <a:sym typeface="Quattrocento Sans"/>
              </a:rPr>
              <a:t>powering</a:t>
            </a:r>
            <a:r>
              <a:rPr lang="en-US" dirty="0"/>
              <a:t> Africa with the African Development Bank</a:t>
            </a:r>
            <a:endParaRPr dirty="0">
              <a:highlight>
                <a:srgbClr val="FFCD00"/>
              </a:highlight>
              <a:sym typeface="Quattrocento Sans"/>
            </a:endParaRPr>
          </a:p>
        </p:txBody>
      </p:sp>
      <p:grpSp>
        <p:nvGrpSpPr>
          <p:cNvPr id="62" name="Shape 62"/>
          <p:cNvGrpSpPr/>
          <p:nvPr/>
        </p:nvGrpSpPr>
        <p:grpSpPr>
          <a:xfrm>
            <a:off x="1299165" y="3511424"/>
            <a:ext cx="215966" cy="342399"/>
            <a:chOff x="6718575" y="2318625"/>
            <a:chExt cx="256950" cy="407375"/>
          </a:xfrm>
        </p:grpSpPr>
        <p:sp>
          <p:nvSpPr>
            <p:cNvPr id="63" name="Shape 63"/>
            <p:cNvSpPr/>
            <p:nvPr/>
          </p:nvSpPr>
          <p:spPr>
            <a:xfrm>
              <a:off x="6795900" y="2673600"/>
              <a:ext cx="102300" cy="22550"/>
            </a:xfrm>
            <a:custGeom>
              <a:avLst/>
              <a:gdLst/>
              <a:ahLst/>
              <a:cxnLst/>
              <a:rect l="0" t="0" r="0" b="0"/>
              <a:pathLst>
                <a:path w="4092" h="902" fill="none" extrusionOk="0">
                  <a:moveTo>
                    <a:pt x="4092" y="902"/>
                  </a:moveTo>
                  <a:lnTo>
                    <a:pt x="4092" y="1"/>
                  </a:lnTo>
                  <a:lnTo>
                    <a:pt x="0" y="1"/>
                  </a:lnTo>
                  <a:lnTo>
                    <a:pt x="0" y="902"/>
                  </a:lnTo>
                  <a:lnTo>
                    <a:pt x="4092" y="902"/>
                  </a:lnTo>
                  <a:close/>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4" name="Shape 64"/>
            <p:cNvSpPr/>
            <p:nvPr/>
          </p:nvSpPr>
          <p:spPr>
            <a:xfrm>
              <a:off x="6795900" y="2650475"/>
              <a:ext cx="102300" cy="22550"/>
            </a:xfrm>
            <a:custGeom>
              <a:avLst/>
              <a:gdLst/>
              <a:ahLst/>
              <a:cxnLst/>
              <a:rect l="0" t="0" r="0" b="0"/>
              <a:pathLst>
                <a:path w="4092" h="902" fill="none" extrusionOk="0">
                  <a:moveTo>
                    <a:pt x="4092" y="901"/>
                  </a:moveTo>
                  <a:lnTo>
                    <a:pt x="4092" y="0"/>
                  </a:lnTo>
                  <a:lnTo>
                    <a:pt x="0" y="0"/>
                  </a:lnTo>
                  <a:lnTo>
                    <a:pt x="0" y="901"/>
                  </a:lnTo>
                  <a:lnTo>
                    <a:pt x="4092" y="901"/>
                  </a:lnTo>
                  <a:close/>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5" name="Shape 65"/>
            <p:cNvSpPr/>
            <p:nvPr/>
          </p:nvSpPr>
          <p:spPr>
            <a:xfrm>
              <a:off x="6795900" y="2696125"/>
              <a:ext cx="102300" cy="29875"/>
            </a:xfrm>
            <a:custGeom>
              <a:avLst/>
              <a:gdLst/>
              <a:ahLst/>
              <a:cxnLst/>
              <a:rect l="0" t="0" r="0" b="0"/>
              <a:pathLst>
                <a:path w="4092" h="1195" fill="none" extrusionOk="0">
                  <a:moveTo>
                    <a:pt x="0" y="1"/>
                  </a:moveTo>
                  <a:lnTo>
                    <a:pt x="0" y="171"/>
                  </a:lnTo>
                  <a:lnTo>
                    <a:pt x="0" y="171"/>
                  </a:lnTo>
                  <a:lnTo>
                    <a:pt x="24" y="318"/>
                  </a:lnTo>
                  <a:lnTo>
                    <a:pt x="98" y="464"/>
                  </a:lnTo>
                  <a:lnTo>
                    <a:pt x="195" y="585"/>
                  </a:lnTo>
                  <a:lnTo>
                    <a:pt x="341" y="659"/>
                  </a:lnTo>
                  <a:lnTo>
                    <a:pt x="1875" y="1170"/>
                  </a:lnTo>
                  <a:lnTo>
                    <a:pt x="1875" y="1170"/>
                  </a:lnTo>
                  <a:lnTo>
                    <a:pt x="2046" y="1194"/>
                  </a:lnTo>
                  <a:lnTo>
                    <a:pt x="2046" y="1194"/>
                  </a:lnTo>
                  <a:lnTo>
                    <a:pt x="2216" y="1170"/>
                  </a:lnTo>
                  <a:lnTo>
                    <a:pt x="3751" y="659"/>
                  </a:lnTo>
                  <a:lnTo>
                    <a:pt x="3751" y="659"/>
                  </a:lnTo>
                  <a:lnTo>
                    <a:pt x="3897" y="585"/>
                  </a:lnTo>
                  <a:lnTo>
                    <a:pt x="3994" y="464"/>
                  </a:lnTo>
                  <a:lnTo>
                    <a:pt x="4067" y="318"/>
                  </a:lnTo>
                  <a:lnTo>
                    <a:pt x="4092" y="171"/>
                  </a:lnTo>
                  <a:lnTo>
                    <a:pt x="4092" y="1"/>
                  </a:lnTo>
                  <a:lnTo>
                    <a:pt x="0" y="1"/>
                  </a:lnTo>
                  <a:close/>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6" name="Shape 66"/>
            <p:cNvSpPr/>
            <p:nvPr/>
          </p:nvSpPr>
          <p:spPr>
            <a:xfrm>
              <a:off x="6784925" y="2459275"/>
              <a:ext cx="35350" cy="166875"/>
            </a:xfrm>
            <a:custGeom>
              <a:avLst/>
              <a:gdLst/>
              <a:ahLst/>
              <a:cxnLst/>
              <a:rect l="0" t="0" r="0" b="0"/>
              <a:pathLst>
                <a:path w="1414" h="6675" fill="none" extrusionOk="0">
                  <a:moveTo>
                    <a:pt x="1413" y="6674"/>
                  </a:moveTo>
                  <a:lnTo>
                    <a:pt x="1413" y="6674"/>
                  </a:lnTo>
                  <a:lnTo>
                    <a:pt x="585" y="2850"/>
                  </a:lnTo>
                  <a:lnTo>
                    <a:pt x="1"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7" name="Shape 67"/>
            <p:cNvSpPr/>
            <p:nvPr/>
          </p:nvSpPr>
          <p:spPr>
            <a:xfrm>
              <a:off x="6718575" y="2318625"/>
              <a:ext cx="256950" cy="307525"/>
            </a:xfrm>
            <a:custGeom>
              <a:avLst/>
              <a:gdLst/>
              <a:ahLst/>
              <a:cxnLst/>
              <a:rect l="0" t="0" r="0" b="0"/>
              <a:pathLst>
                <a:path w="10278" h="12301" fill="none" extrusionOk="0">
                  <a:moveTo>
                    <a:pt x="7185" y="12300"/>
                  </a:moveTo>
                  <a:lnTo>
                    <a:pt x="7185" y="12300"/>
                  </a:lnTo>
                  <a:lnTo>
                    <a:pt x="7307" y="11764"/>
                  </a:lnTo>
                  <a:lnTo>
                    <a:pt x="7477" y="11253"/>
                  </a:lnTo>
                  <a:lnTo>
                    <a:pt x="7672" y="10766"/>
                  </a:lnTo>
                  <a:lnTo>
                    <a:pt x="7891" y="10327"/>
                  </a:lnTo>
                  <a:lnTo>
                    <a:pt x="8135" y="9913"/>
                  </a:lnTo>
                  <a:lnTo>
                    <a:pt x="8378" y="9499"/>
                  </a:lnTo>
                  <a:lnTo>
                    <a:pt x="8914" y="8720"/>
                  </a:lnTo>
                  <a:lnTo>
                    <a:pt x="9182" y="8330"/>
                  </a:lnTo>
                  <a:lnTo>
                    <a:pt x="9425" y="7941"/>
                  </a:lnTo>
                  <a:lnTo>
                    <a:pt x="9645" y="7551"/>
                  </a:lnTo>
                  <a:lnTo>
                    <a:pt x="9864" y="7113"/>
                  </a:lnTo>
                  <a:lnTo>
                    <a:pt x="10034" y="6674"/>
                  </a:lnTo>
                  <a:lnTo>
                    <a:pt x="10156" y="6187"/>
                  </a:lnTo>
                  <a:lnTo>
                    <a:pt x="10229" y="5676"/>
                  </a:lnTo>
                  <a:lnTo>
                    <a:pt x="10253" y="5408"/>
                  </a:lnTo>
                  <a:lnTo>
                    <a:pt x="10278" y="5140"/>
                  </a:lnTo>
                  <a:lnTo>
                    <a:pt x="10278" y="5140"/>
                  </a:lnTo>
                  <a:lnTo>
                    <a:pt x="10229" y="4604"/>
                  </a:lnTo>
                  <a:lnTo>
                    <a:pt x="10156" y="4093"/>
                  </a:lnTo>
                  <a:lnTo>
                    <a:pt x="10034" y="3605"/>
                  </a:lnTo>
                  <a:lnTo>
                    <a:pt x="9864" y="3143"/>
                  </a:lnTo>
                  <a:lnTo>
                    <a:pt x="9645" y="2680"/>
                  </a:lnTo>
                  <a:lnTo>
                    <a:pt x="9401" y="2266"/>
                  </a:lnTo>
                  <a:lnTo>
                    <a:pt x="9084" y="1876"/>
                  </a:lnTo>
                  <a:lnTo>
                    <a:pt x="8768" y="1511"/>
                  </a:lnTo>
                  <a:lnTo>
                    <a:pt x="8402" y="1170"/>
                  </a:lnTo>
                  <a:lnTo>
                    <a:pt x="8013" y="878"/>
                  </a:lnTo>
                  <a:lnTo>
                    <a:pt x="7574" y="634"/>
                  </a:lnTo>
                  <a:lnTo>
                    <a:pt x="7136" y="415"/>
                  </a:lnTo>
                  <a:lnTo>
                    <a:pt x="6673" y="244"/>
                  </a:lnTo>
                  <a:lnTo>
                    <a:pt x="6162" y="98"/>
                  </a:lnTo>
                  <a:lnTo>
                    <a:pt x="5675" y="25"/>
                  </a:lnTo>
                  <a:lnTo>
                    <a:pt x="5139" y="1"/>
                  </a:lnTo>
                  <a:lnTo>
                    <a:pt x="5139" y="1"/>
                  </a:lnTo>
                  <a:lnTo>
                    <a:pt x="4603" y="25"/>
                  </a:lnTo>
                  <a:lnTo>
                    <a:pt x="4116" y="98"/>
                  </a:lnTo>
                  <a:lnTo>
                    <a:pt x="3605" y="244"/>
                  </a:lnTo>
                  <a:lnTo>
                    <a:pt x="3142" y="415"/>
                  </a:lnTo>
                  <a:lnTo>
                    <a:pt x="2703" y="634"/>
                  </a:lnTo>
                  <a:lnTo>
                    <a:pt x="2265" y="878"/>
                  </a:lnTo>
                  <a:lnTo>
                    <a:pt x="1875" y="1170"/>
                  </a:lnTo>
                  <a:lnTo>
                    <a:pt x="1510" y="1511"/>
                  </a:lnTo>
                  <a:lnTo>
                    <a:pt x="1193" y="1876"/>
                  </a:lnTo>
                  <a:lnTo>
                    <a:pt x="877" y="2266"/>
                  </a:lnTo>
                  <a:lnTo>
                    <a:pt x="633" y="2680"/>
                  </a:lnTo>
                  <a:lnTo>
                    <a:pt x="414" y="3143"/>
                  </a:lnTo>
                  <a:lnTo>
                    <a:pt x="244" y="3605"/>
                  </a:lnTo>
                  <a:lnTo>
                    <a:pt x="122" y="4093"/>
                  </a:lnTo>
                  <a:lnTo>
                    <a:pt x="49" y="4604"/>
                  </a:lnTo>
                  <a:lnTo>
                    <a:pt x="0" y="5140"/>
                  </a:lnTo>
                  <a:lnTo>
                    <a:pt x="0" y="5140"/>
                  </a:lnTo>
                  <a:lnTo>
                    <a:pt x="24" y="5408"/>
                  </a:lnTo>
                  <a:lnTo>
                    <a:pt x="49" y="5676"/>
                  </a:lnTo>
                  <a:lnTo>
                    <a:pt x="122" y="6187"/>
                  </a:lnTo>
                  <a:lnTo>
                    <a:pt x="244" y="6674"/>
                  </a:lnTo>
                  <a:lnTo>
                    <a:pt x="414" y="7113"/>
                  </a:lnTo>
                  <a:lnTo>
                    <a:pt x="633" y="7551"/>
                  </a:lnTo>
                  <a:lnTo>
                    <a:pt x="852" y="7941"/>
                  </a:lnTo>
                  <a:lnTo>
                    <a:pt x="1096" y="8330"/>
                  </a:lnTo>
                  <a:lnTo>
                    <a:pt x="1364" y="8720"/>
                  </a:lnTo>
                  <a:lnTo>
                    <a:pt x="1900" y="9499"/>
                  </a:lnTo>
                  <a:lnTo>
                    <a:pt x="2143" y="9913"/>
                  </a:lnTo>
                  <a:lnTo>
                    <a:pt x="2387" y="10327"/>
                  </a:lnTo>
                  <a:lnTo>
                    <a:pt x="2606" y="10766"/>
                  </a:lnTo>
                  <a:lnTo>
                    <a:pt x="2801" y="11253"/>
                  </a:lnTo>
                  <a:lnTo>
                    <a:pt x="2971" y="11764"/>
                  </a:lnTo>
                  <a:lnTo>
                    <a:pt x="3093" y="1230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8" name="Shape 68"/>
            <p:cNvSpPr/>
            <p:nvPr/>
          </p:nvSpPr>
          <p:spPr>
            <a:xfrm>
              <a:off x="6873825" y="2459275"/>
              <a:ext cx="35350" cy="166875"/>
            </a:xfrm>
            <a:custGeom>
              <a:avLst/>
              <a:gdLst/>
              <a:ahLst/>
              <a:cxnLst/>
              <a:rect l="0" t="0" r="0" b="0"/>
              <a:pathLst>
                <a:path w="1414" h="6675" fill="none" extrusionOk="0">
                  <a:moveTo>
                    <a:pt x="1413" y="1"/>
                  </a:moveTo>
                  <a:lnTo>
                    <a:pt x="1413" y="1"/>
                  </a:lnTo>
                  <a:lnTo>
                    <a:pt x="829" y="2850"/>
                  </a:lnTo>
                  <a:lnTo>
                    <a:pt x="1" y="6674"/>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9" name="Shape 69"/>
            <p:cNvSpPr/>
            <p:nvPr/>
          </p:nvSpPr>
          <p:spPr>
            <a:xfrm>
              <a:off x="6801975" y="2453200"/>
              <a:ext cx="90150" cy="19500"/>
            </a:xfrm>
            <a:custGeom>
              <a:avLst/>
              <a:gdLst/>
              <a:ahLst/>
              <a:cxnLst/>
              <a:rect l="0" t="0" r="0" b="0"/>
              <a:pathLst>
                <a:path w="3606" h="780" fill="none" extrusionOk="0">
                  <a:moveTo>
                    <a:pt x="1" y="73"/>
                  </a:moveTo>
                  <a:lnTo>
                    <a:pt x="829" y="780"/>
                  </a:lnTo>
                  <a:lnTo>
                    <a:pt x="1657" y="73"/>
                  </a:lnTo>
                  <a:lnTo>
                    <a:pt x="1657" y="73"/>
                  </a:lnTo>
                  <a:lnTo>
                    <a:pt x="1730" y="25"/>
                  </a:lnTo>
                  <a:lnTo>
                    <a:pt x="1803" y="0"/>
                  </a:lnTo>
                  <a:lnTo>
                    <a:pt x="1876" y="25"/>
                  </a:lnTo>
                  <a:lnTo>
                    <a:pt x="1949" y="73"/>
                  </a:lnTo>
                  <a:lnTo>
                    <a:pt x="2777" y="780"/>
                  </a:lnTo>
                  <a:lnTo>
                    <a:pt x="3605" y="73"/>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70" name="Shape 70"/>
            <p:cNvSpPr/>
            <p:nvPr/>
          </p:nvSpPr>
          <p:spPr>
            <a:xfrm>
              <a:off x="6795900" y="2628550"/>
              <a:ext cx="102300" cy="25"/>
            </a:xfrm>
            <a:custGeom>
              <a:avLst/>
              <a:gdLst/>
              <a:ahLst/>
              <a:cxnLst/>
              <a:rect l="0" t="0" r="0" b="0"/>
              <a:pathLst>
                <a:path w="4092" h="1" fill="none" extrusionOk="0">
                  <a:moveTo>
                    <a:pt x="0" y="1"/>
                  </a:moveTo>
                  <a:lnTo>
                    <a:pt x="4092"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grpSp>
      <p:sp>
        <p:nvSpPr>
          <p:cNvPr id="2" name="TextBox 1"/>
          <p:cNvSpPr txBox="1"/>
          <p:nvPr/>
        </p:nvSpPr>
        <p:spPr>
          <a:xfrm>
            <a:off x="1201271" y="4141694"/>
            <a:ext cx="3756211" cy="307777"/>
          </a:xfrm>
          <a:prstGeom prst="rect">
            <a:avLst/>
          </a:prstGeom>
          <a:noFill/>
        </p:spPr>
        <p:txBody>
          <a:bodyPr wrap="square" rtlCol="0">
            <a:spAutoFit/>
          </a:bodyPr>
          <a:lstStyle/>
          <a:p>
            <a:r>
              <a:rPr lang="en-US" dirty="0"/>
              <a:t>A quick overview</a:t>
            </a:r>
          </a:p>
        </p:txBody>
      </p:sp>
      <p:sp>
        <p:nvSpPr>
          <p:cNvPr id="14" name="Shape 11"/>
          <p:cNvSpPr/>
          <p:nvPr/>
        </p:nvSpPr>
        <p:spPr>
          <a:xfrm>
            <a:off x="1822488" y="3388797"/>
            <a:ext cx="567000" cy="567000"/>
          </a:xfrm>
          <a:prstGeom prst="ellipse">
            <a:avLst/>
          </a:prstGeom>
          <a:solidFill>
            <a:srgbClr val="FFCD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5" name="Shape 11"/>
          <p:cNvSpPr/>
          <p:nvPr/>
        </p:nvSpPr>
        <p:spPr>
          <a:xfrm>
            <a:off x="2543832" y="3392583"/>
            <a:ext cx="567000" cy="567000"/>
          </a:xfrm>
          <a:prstGeom prst="ellipse">
            <a:avLst/>
          </a:prstGeom>
          <a:solidFill>
            <a:srgbClr val="FFCD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grpSp>
        <p:nvGrpSpPr>
          <p:cNvPr id="16" name="Shape 629"/>
          <p:cNvGrpSpPr/>
          <p:nvPr/>
        </p:nvGrpSpPr>
        <p:grpSpPr>
          <a:xfrm>
            <a:off x="1909458" y="3476648"/>
            <a:ext cx="393060" cy="393060"/>
            <a:chOff x="5941025" y="3634400"/>
            <a:chExt cx="467650" cy="467650"/>
          </a:xfrm>
        </p:grpSpPr>
        <p:sp>
          <p:nvSpPr>
            <p:cNvPr id="17" name="Shape 630"/>
            <p:cNvSpPr/>
            <p:nvPr/>
          </p:nvSpPr>
          <p:spPr>
            <a:xfrm>
              <a:off x="5941025" y="3634400"/>
              <a:ext cx="467650" cy="467650"/>
            </a:xfrm>
            <a:custGeom>
              <a:avLst/>
              <a:gdLst/>
              <a:ahLst/>
              <a:cxnLst/>
              <a:rect l="0" t="0" r="0" b="0"/>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8" name="Shape 631"/>
            <p:cNvSpPr/>
            <p:nvPr/>
          </p:nvSpPr>
          <p:spPr>
            <a:xfrm>
              <a:off x="6211975" y="3753150"/>
              <a:ext cx="19525" cy="18900"/>
            </a:xfrm>
            <a:custGeom>
              <a:avLst/>
              <a:gdLst/>
              <a:ahLst/>
              <a:cxnLst/>
              <a:rect l="0" t="0" r="0" b="0"/>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Shape 632"/>
            <p:cNvSpPr/>
            <p:nvPr/>
          </p:nvSpPr>
          <p:spPr>
            <a:xfrm>
              <a:off x="5943475" y="3695900"/>
              <a:ext cx="177800" cy="351350"/>
            </a:xfrm>
            <a:custGeom>
              <a:avLst/>
              <a:gdLst/>
              <a:ahLst/>
              <a:cxnLst/>
              <a:rect l="0" t="0" r="0" b="0"/>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 name="Shape 633"/>
            <p:cNvSpPr/>
            <p:nvPr/>
          </p:nvSpPr>
          <p:spPr>
            <a:xfrm>
              <a:off x="6128575" y="3695900"/>
              <a:ext cx="86475" cy="47525"/>
            </a:xfrm>
            <a:custGeom>
              <a:avLst/>
              <a:gdLst/>
              <a:ahLst/>
              <a:cxnLst/>
              <a:rect l="0" t="0" r="0" b="0"/>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1" name="Shape 634"/>
            <p:cNvSpPr/>
            <p:nvPr/>
          </p:nvSpPr>
          <p:spPr>
            <a:xfrm>
              <a:off x="6357500" y="3940075"/>
              <a:ext cx="18900" cy="34725"/>
            </a:xfrm>
            <a:custGeom>
              <a:avLst/>
              <a:gdLst/>
              <a:ahLst/>
              <a:cxnLst/>
              <a:rect l="0" t="0" r="0" b="0"/>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Shape 635"/>
            <p:cNvSpPr/>
            <p:nvPr/>
          </p:nvSpPr>
          <p:spPr>
            <a:xfrm>
              <a:off x="6202850" y="3720875"/>
              <a:ext cx="204000" cy="278875"/>
            </a:xfrm>
            <a:custGeom>
              <a:avLst/>
              <a:gdLst/>
              <a:ahLst/>
              <a:cxnLst/>
              <a:rect l="0" t="0" r="0" b="0"/>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grpSp>
      <p:grpSp>
        <p:nvGrpSpPr>
          <p:cNvPr id="23" name="Shape 805"/>
          <p:cNvGrpSpPr/>
          <p:nvPr/>
        </p:nvGrpSpPr>
        <p:grpSpPr>
          <a:xfrm>
            <a:off x="2672512" y="3476648"/>
            <a:ext cx="309640" cy="392030"/>
            <a:chOff x="2635450" y="4321225"/>
            <a:chExt cx="368400" cy="466425"/>
          </a:xfrm>
        </p:grpSpPr>
        <p:sp>
          <p:nvSpPr>
            <p:cNvPr id="24" name="Shape 806"/>
            <p:cNvSpPr/>
            <p:nvPr/>
          </p:nvSpPr>
          <p:spPr>
            <a:xfrm>
              <a:off x="2635450" y="4653050"/>
              <a:ext cx="368400" cy="134600"/>
            </a:xfrm>
            <a:custGeom>
              <a:avLst/>
              <a:gdLst/>
              <a:ahLst/>
              <a:cxnLst/>
              <a:rect l="0" t="0" r="0" b="0"/>
              <a:pathLst>
                <a:path w="14736" h="5384" fill="none" extrusionOk="0">
                  <a:moveTo>
                    <a:pt x="6723" y="1"/>
                  </a:moveTo>
                  <a:lnTo>
                    <a:pt x="6723" y="1"/>
                  </a:lnTo>
                  <a:lnTo>
                    <a:pt x="6187" y="49"/>
                  </a:lnTo>
                  <a:lnTo>
                    <a:pt x="5651" y="147"/>
                  </a:lnTo>
                  <a:lnTo>
                    <a:pt x="5140" y="269"/>
                  </a:lnTo>
                  <a:lnTo>
                    <a:pt x="4628" y="415"/>
                  </a:lnTo>
                  <a:lnTo>
                    <a:pt x="4141" y="610"/>
                  </a:lnTo>
                  <a:lnTo>
                    <a:pt x="3678" y="829"/>
                  </a:lnTo>
                  <a:lnTo>
                    <a:pt x="3216" y="1072"/>
                  </a:lnTo>
                  <a:lnTo>
                    <a:pt x="2777" y="1340"/>
                  </a:lnTo>
                  <a:lnTo>
                    <a:pt x="2363" y="1633"/>
                  </a:lnTo>
                  <a:lnTo>
                    <a:pt x="1949" y="1949"/>
                  </a:lnTo>
                  <a:lnTo>
                    <a:pt x="1584" y="2290"/>
                  </a:lnTo>
                  <a:lnTo>
                    <a:pt x="1219" y="2655"/>
                  </a:lnTo>
                  <a:lnTo>
                    <a:pt x="878" y="3045"/>
                  </a:lnTo>
                  <a:lnTo>
                    <a:pt x="561" y="3459"/>
                  </a:lnTo>
                  <a:lnTo>
                    <a:pt x="269" y="3873"/>
                  </a:lnTo>
                  <a:lnTo>
                    <a:pt x="1" y="4312"/>
                  </a:lnTo>
                  <a:lnTo>
                    <a:pt x="1" y="4312"/>
                  </a:lnTo>
                  <a:lnTo>
                    <a:pt x="293" y="4433"/>
                  </a:lnTo>
                  <a:lnTo>
                    <a:pt x="610" y="4555"/>
                  </a:lnTo>
                  <a:lnTo>
                    <a:pt x="1316" y="4750"/>
                  </a:lnTo>
                  <a:lnTo>
                    <a:pt x="2120" y="4945"/>
                  </a:lnTo>
                  <a:lnTo>
                    <a:pt x="3045" y="5091"/>
                  </a:lnTo>
                  <a:lnTo>
                    <a:pt x="4019" y="5213"/>
                  </a:lnTo>
                  <a:lnTo>
                    <a:pt x="5091" y="5310"/>
                  </a:lnTo>
                  <a:lnTo>
                    <a:pt x="6211" y="5359"/>
                  </a:lnTo>
                  <a:lnTo>
                    <a:pt x="7356" y="5383"/>
                  </a:lnTo>
                  <a:lnTo>
                    <a:pt x="7356" y="5383"/>
                  </a:lnTo>
                  <a:lnTo>
                    <a:pt x="8525" y="5359"/>
                  </a:lnTo>
                  <a:lnTo>
                    <a:pt x="9645" y="5310"/>
                  </a:lnTo>
                  <a:lnTo>
                    <a:pt x="10717" y="5213"/>
                  </a:lnTo>
                  <a:lnTo>
                    <a:pt x="11691" y="5091"/>
                  </a:lnTo>
                  <a:lnTo>
                    <a:pt x="12617" y="4945"/>
                  </a:lnTo>
                  <a:lnTo>
                    <a:pt x="13420" y="4750"/>
                  </a:lnTo>
                  <a:lnTo>
                    <a:pt x="14127" y="4555"/>
                  </a:lnTo>
                  <a:lnTo>
                    <a:pt x="14443" y="4433"/>
                  </a:lnTo>
                  <a:lnTo>
                    <a:pt x="14736" y="4312"/>
                  </a:lnTo>
                  <a:lnTo>
                    <a:pt x="14736" y="4312"/>
                  </a:lnTo>
                  <a:lnTo>
                    <a:pt x="14468" y="3873"/>
                  </a:lnTo>
                  <a:lnTo>
                    <a:pt x="14175" y="3459"/>
                  </a:lnTo>
                  <a:lnTo>
                    <a:pt x="13859" y="3045"/>
                  </a:lnTo>
                  <a:lnTo>
                    <a:pt x="13518" y="2655"/>
                  </a:lnTo>
                  <a:lnTo>
                    <a:pt x="13153" y="2290"/>
                  </a:lnTo>
                  <a:lnTo>
                    <a:pt x="12787" y="1949"/>
                  </a:lnTo>
                  <a:lnTo>
                    <a:pt x="12373" y="1633"/>
                  </a:lnTo>
                  <a:lnTo>
                    <a:pt x="11959" y="1340"/>
                  </a:lnTo>
                  <a:lnTo>
                    <a:pt x="11521" y="1072"/>
                  </a:lnTo>
                  <a:lnTo>
                    <a:pt x="11058" y="829"/>
                  </a:lnTo>
                  <a:lnTo>
                    <a:pt x="10595" y="610"/>
                  </a:lnTo>
                  <a:lnTo>
                    <a:pt x="10108" y="415"/>
                  </a:lnTo>
                  <a:lnTo>
                    <a:pt x="9597" y="269"/>
                  </a:lnTo>
                  <a:lnTo>
                    <a:pt x="9085" y="147"/>
                  </a:lnTo>
                  <a:lnTo>
                    <a:pt x="8549" y="49"/>
                  </a:lnTo>
                  <a:lnTo>
                    <a:pt x="8014"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5" name="Shape 807"/>
            <p:cNvSpPr/>
            <p:nvPr/>
          </p:nvSpPr>
          <p:spPr>
            <a:xfrm>
              <a:off x="2819350" y="4321225"/>
              <a:ext cx="25" cy="347075"/>
            </a:xfrm>
            <a:custGeom>
              <a:avLst/>
              <a:gdLst/>
              <a:ahLst/>
              <a:cxnLst/>
              <a:rect l="0" t="0" r="0" b="0"/>
              <a:pathLst>
                <a:path w="1" h="13883" fill="none" extrusionOk="0">
                  <a:moveTo>
                    <a:pt x="0" y="13883"/>
                  </a:moveTo>
                  <a:lnTo>
                    <a:pt x="0"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6" name="Shape 808"/>
            <p:cNvSpPr/>
            <p:nvPr/>
          </p:nvSpPr>
          <p:spPr>
            <a:xfrm>
              <a:off x="2835175" y="4328525"/>
              <a:ext cx="114475" cy="114500"/>
            </a:xfrm>
            <a:custGeom>
              <a:avLst/>
              <a:gdLst/>
              <a:ahLst/>
              <a:cxnLst/>
              <a:rect l="0" t="0" r="0" b="0"/>
              <a:pathLst>
                <a:path w="4579" h="4580" fill="none" extrusionOk="0">
                  <a:moveTo>
                    <a:pt x="707" y="4190"/>
                  </a:moveTo>
                  <a:lnTo>
                    <a:pt x="707" y="4190"/>
                  </a:lnTo>
                  <a:lnTo>
                    <a:pt x="853" y="4287"/>
                  </a:lnTo>
                  <a:lnTo>
                    <a:pt x="999" y="4384"/>
                  </a:lnTo>
                  <a:lnTo>
                    <a:pt x="1145" y="4458"/>
                  </a:lnTo>
                  <a:lnTo>
                    <a:pt x="1315" y="4506"/>
                  </a:lnTo>
                  <a:lnTo>
                    <a:pt x="1462" y="4555"/>
                  </a:lnTo>
                  <a:lnTo>
                    <a:pt x="1632" y="4579"/>
                  </a:lnTo>
                  <a:lnTo>
                    <a:pt x="1803" y="4579"/>
                  </a:lnTo>
                  <a:lnTo>
                    <a:pt x="1973" y="4579"/>
                  </a:lnTo>
                  <a:lnTo>
                    <a:pt x="2143" y="4579"/>
                  </a:lnTo>
                  <a:lnTo>
                    <a:pt x="2290" y="4531"/>
                  </a:lnTo>
                  <a:lnTo>
                    <a:pt x="2460" y="4506"/>
                  </a:lnTo>
                  <a:lnTo>
                    <a:pt x="2606" y="4433"/>
                  </a:lnTo>
                  <a:lnTo>
                    <a:pt x="2777" y="4360"/>
                  </a:lnTo>
                  <a:lnTo>
                    <a:pt x="2923" y="4263"/>
                  </a:lnTo>
                  <a:lnTo>
                    <a:pt x="3069" y="4165"/>
                  </a:lnTo>
                  <a:lnTo>
                    <a:pt x="3191" y="4043"/>
                  </a:lnTo>
                  <a:lnTo>
                    <a:pt x="3191" y="4043"/>
                  </a:lnTo>
                  <a:lnTo>
                    <a:pt x="3337" y="3873"/>
                  </a:lnTo>
                  <a:lnTo>
                    <a:pt x="3459" y="3678"/>
                  </a:lnTo>
                  <a:lnTo>
                    <a:pt x="3605" y="3410"/>
                  </a:lnTo>
                  <a:lnTo>
                    <a:pt x="3727" y="3142"/>
                  </a:lnTo>
                  <a:lnTo>
                    <a:pt x="3994" y="2485"/>
                  </a:lnTo>
                  <a:lnTo>
                    <a:pt x="4214" y="1827"/>
                  </a:lnTo>
                  <a:lnTo>
                    <a:pt x="4384" y="1170"/>
                  </a:lnTo>
                  <a:lnTo>
                    <a:pt x="4506" y="634"/>
                  </a:lnTo>
                  <a:lnTo>
                    <a:pt x="4579" y="220"/>
                  </a:lnTo>
                  <a:lnTo>
                    <a:pt x="4579" y="98"/>
                  </a:lnTo>
                  <a:lnTo>
                    <a:pt x="4555" y="25"/>
                  </a:lnTo>
                  <a:lnTo>
                    <a:pt x="4555" y="25"/>
                  </a:lnTo>
                  <a:lnTo>
                    <a:pt x="4482" y="1"/>
                  </a:lnTo>
                  <a:lnTo>
                    <a:pt x="4360" y="25"/>
                  </a:lnTo>
                  <a:lnTo>
                    <a:pt x="3970" y="74"/>
                  </a:lnTo>
                  <a:lnTo>
                    <a:pt x="3410" y="195"/>
                  </a:lnTo>
                  <a:lnTo>
                    <a:pt x="2752" y="390"/>
                  </a:lnTo>
                  <a:lnTo>
                    <a:pt x="2095" y="609"/>
                  </a:lnTo>
                  <a:lnTo>
                    <a:pt x="1462" y="853"/>
                  </a:lnTo>
                  <a:lnTo>
                    <a:pt x="1169" y="975"/>
                  </a:lnTo>
                  <a:lnTo>
                    <a:pt x="926" y="1121"/>
                  </a:lnTo>
                  <a:lnTo>
                    <a:pt x="707" y="1267"/>
                  </a:lnTo>
                  <a:lnTo>
                    <a:pt x="536" y="1389"/>
                  </a:lnTo>
                  <a:lnTo>
                    <a:pt x="536" y="1389"/>
                  </a:lnTo>
                  <a:lnTo>
                    <a:pt x="414" y="1535"/>
                  </a:lnTo>
                  <a:lnTo>
                    <a:pt x="317" y="1657"/>
                  </a:lnTo>
                  <a:lnTo>
                    <a:pt x="219" y="1803"/>
                  </a:lnTo>
                  <a:lnTo>
                    <a:pt x="146" y="1973"/>
                  </a:lnTo>
                  <a:lnTo>
                    <a:pt x="98" y="2119"/>
                  </a:lnTo>
                  <a:lnTo>
                    <a:pt x="49" y="2290"/>
                  </a:lnTo>
                  <a:lnTo>
                    <a:pt x="0" y="2460"/>
                  </a:lnTo>
                  <a:lnTo>
                    <a:pt x="0" y="2607"/>
                  </a:lnTo>
                  <a:lnTo>
                    <a:pt x="0" y="2777"/>
                  </a:lnTo>
                  <a:lnTo>
                    <a:pt x="0" y="2948"/>
                  </a:lnTo>
                  <a:lnTo>
                    <a:pt x="25" y="3118"/>
                  </a:lnTo>
                  <a:lnTo>
                    <a:pt x="73" y="3264"/>
                  </a:lnTo>
                  <a:lnTo>
                    <a:pt x="146" y="3435"/>
                  </a:lnTo>
                  <a:lnTo>
                    <a:pt x="195" y="3581"/>
                  </a:lnTo>
                  <a:lnTo>
                    <a:pt x="293" y="3727"/>
                  </a:lnTo>
                  <a:lnTo>
                    <a:pt x="390" y="3873"/>
                  </a:lnTo>
                  <a:lnTo>
                    <a:pt x="707" y="4190"/>
                  </a:lnTo>
                  <a:close/>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7" name="Shape 809"/>
            <p:cNvSpPr/>
            <p:nvPr/>
          </p:nvSpPr>
          <p:spPr>
            <a:xfrm>
              <a:off x="2850400" y="4372975"/>
              <a:ext cx="54825" cy="54825"/>
            </a:xfrm>
            <a:custGeom>
              <a:avLst/>
              <a:gdLst/>
              <a:ahLst/>
              <a:cxnLst/>
              <a:rect l="0" t="0" r="0" b="0"/>
              <a:pathLst>
                <a:path w="2193" h="2193" fill="none" extrusionOk="0">
                  <a:moveTo>
                    <a:pt x="2192" y="0"/>
                  </a:moveTo>
                  <a:lnTo>
                    <a:pt x="0" y="2192"/>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8" name="Shape 810"/>
            <p:cNvSpPr/>
            <p:nvPr/>
          </p:nvSpPr>
          <p:spPr>
            <a:xfrm>
              <a:off x="2646425" y="4429600"/>
              <a:ext cx="156500" cy="156500"/>
            </a:xfrm>
            <a:custGeom>
              <a:avLst/>
              <a:gdLst/>
              <a:ahLst/>
              <a:cxnLst/>
              <a:rect l="0" t="0" r="0" b="0"/>
              <a:pathLst>
                <a:path w="6260" h="6260" fill="none" extrusionOk="0">
                  <a:moveTo>
                    <a:pt x="5675" y="5334"/>
                  </a:moveTo>
                  <a:lnTo>
                    <a:pt x="5675" y="5334"/>
                  </a:lnTo>
                  <a:lnTo>
                    <a:pt x="5821" y="5139"/>
                  </a:lnTo>
                  <a:lnTo>
                    <a:pt x="5943" y="4945"/>
                  </a:lnTo>
                  <a:lnTo>
                    <a:pt x="6040" y="4725"/>
                  </a:lnTo>
                  <a:lnTo>
                    <a:pt x="6138" y="4506"/>
                  </a:lnTo>
                  <a:lnTo>
                    <a:pt x="6186" y="4287"/>
                  </a:lnTo>
                  <a:lnTo>
                    <a:pt x="6235" y="4043"/>
                  </a:lnTo>
                  <a:lnTo>
                    <a:pt x="6259" y="3824"/>
                  </a:lnTo>
                  <a:lnTo>
                    <a:pt x="6259" y="3581"/>
                  </a:lnTo>
                  <a:lnTo>
                    <a:pt x="6235" y="3361"/>
                  </a:lnTo>
                  <a:lnTo>
                    <a:pt x="6186" y="3118"/>
                  </a:lnTo>
                  <a:lnTo>
                    <a:pt x="6138" y="2899"/>
                  </a:lnTo>
                  <a:lnTo>
                    <a:pt x="6040" y="2680"/>
                  </a:lnTo>
                  <a:lnTo>
                    <a:pt x="5943" y="2460"/>
                  </a:lnTo>
                  <a:lnTo>
                    <a:pt x="5821" y="2266"/>
                  </a:lnTo>
                  <a:lnTo>
                    <a:pt x="5675" y="2071"/>
                  </a:lnTo>
                  <a:lnTo>
                    <a:pt x="5504" y="1900"/>
                  </a:lnTo>
                  <a:lnTo>
                    <a:pt x="5504" y="1900"/>
                  </a:lnTo>
                  <a:lnTo>
                    <a:pt x="5285" y="1705"/>
                  </a:lnTo>
                  <a:lnTo>
                    <a:pt x="4993" y="1510"/>
                  </a:lnTo>
                  <a:lnTo>
                    <a:pt x="4652" y="1316"/>
                  </a:lnTo>
                  <a:lnTo>
                    <a:pt x="4262" y="1145"/>
                  </a:lnTo>
                  <a:lnTo>
                    <a:pt x="3848" y="975"/>
                  </a:lnTo>
                  <a:lnTo>
                    <a:pt x="3410" y="804"/>
                  </a:lnTo>
                  <a:lnTo>
                    <a:pt x="2484" y="488"/>
                  </a:lnTo>
                  <a:lnTo>
                    <a:pt x="1608" y="244"/>
                  </a:lnTo>
                  <a:lnTo>
                    <a:pt x="853" y="74"/>
                  </a:lnTo>
                  <a:lnTo>
                    <a:pt x="536" y="25"/>
                  </a:lnTo>
                  <a:lnTo>
                    <a:pt x="292" y="0"/>
                  </a:lnTo>
                  <a:lnTo>
                    <a:pt x="122" y="0"/>
                  </a:lnTo>
                  <a:lnTo>
                    <a:pt x="25" y="25"/>
                  </a:lnTo>
                  <a:lnTo>
                    <a:pt x="25" y="25"/>
                  </a:lnTo>
                  <a:lnTo>
                    <a:pt x="0" y="122"/>
                  </a:lnTo>
                  <a:lnTo>
                    <a:pt x="0" y="293"/>
                  </a:lnTo>
                  <a:lnTo>
                    <a:pt x="25" y="536"/>
                  </a:lnTo>
                  <a:lnTo>
                    <a:pt x="73" y="853"/>
                  </a:lnTo>
                  <a:lnTo>
                    <a:pt x="244" y="1608"/>
                  </a:lnTo>
                  <a:lnTo>
                    <a:pt x="487" y="2485"/>
                  </a:lnTo>
                  <a:lnTo>
                    <a:pt x="804" y="3410"/>
                  </a:lnTo>
                  <a:lnTo>
                    <a:pt x="974" y="3849"/>
                  </a:lnTo>
                  <a:lnTo>
                    <a:pt x="1145" y="4263"/>
                  </a:lnTo>
                  <a:lnTo>
                    <a:pt x="1315" y="4652"/>
                  </a:lnTo>
                  <a:lnTo>
                    <a:pt x="1510" y="4993"/>
                  </a:lnTo>
                  <a:lnTo>
                    <a:pt x="1705" y="5286"/>
                  </a:lnTo>
                  <a:lnTo>
                    <a:pt x="1900" y="5505"/>
                  </a:lnTo>
                  <a:lnTo>
                    <a:pt x="1900" y="5505"/>
                  </a:lnTo>
                  <a:lnTo>
                    <a:pt x="2070" y="5675"/>
                  </a:lnTo>
                  <a:lnTo>
                    <a:pt x="2265" y="5821"/>
                  </a:lnTo>
                  <a:lnTo>
                    <a:pt x="2460" y="5943"/>
                  </a:lnTo>
                  <a:lnTo>
                    <a:pt x="2679" y="6041"/>
                  </a:lnTo>
                  <a:lnTo>
                    <a:pt x="2898" y="6138"/>
                  </a:lnTo>
                  <a:lnTo>
                    <a:pt x="3118" y="6187"/>
                  </a:lnTo>
                  <a:lnTo>
                    <a:pt x="3361" y="6235"/>
                  </a:lnTo>
                  <a:lnTo>
                    <a:pt x="3580" y="6260"/>
                  </a:lnTo>
                  <a:lnTo>
                    <a:pt x="3824" y="6260"/>
                  </a:lnTo>
                  <a:lnTo>
                    <a:pt x="4043" y="6235"/>
                  </a:lnTo>
                  <a:lnTo>
                    <a:pt x="4287" y="6187"/>
                  </a:lnTo>
                  <a:lnTo>
                    <a:pt x="4506" y="6138"/>
                  </a:lnTo>
                  <a:lnTo>
                    <a:pt x="4725" y="6041"/>
                  </a:lnTo>
                  <a:lnTo>
                    <a:pt x="4944" y="5943"/>
                  </a:lnTo>
                  <a:lnTo>
                    <a:pt x="5139" y="5821"/>
                  </a:lnTo>
                  <a:lnTo>
                    <a:pt x="5334" y="5675"/>
                  </a:lnTo>
                  <a:lnTo>
                    <a:pt x="5675" y="5334"/>
                  </a:lnTo>
                  <a:close/>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9" name="Shape 811"/>
            <p:cNvSpPr/>
            <p:nvPr/>
          </p:nvSpPr>
          <p:spPr>
            <a:xfrm>
              <a:off x="2696350" y="4479525"/>
              <a:ext cx="87100" cy="87100"/>
            </a:xfrm>
            <a:custGeom>
              <a:avLst/>
              <a:gdLst/>
              <a:ahLst/>
              <a:cxnLst/>
              <a:rect l="0" t="0" r="0" b="0"/>
              <a:pathLst>
                <a:path w="3484" h="3484" fill="none" extrusionOk="0">
                  <a:moveTo>
                    <a:pt x="0" y="1"/>
                  </a:moveTo>
                  <a:lnTo>
                    <a:pt x="3483" y="3483"/>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2083" name="think-cell Slide" r:id="rId6" imgW="524" imgH="526" progId="TCLayout.ActiveDocument.1">
                  <p:embed/>
                </p:oleObj>
              </mc:Choice>
              <mc:Fallback>
                <p:oleObj name="think-cell Slide" r:id="rId6" imgW="524" imgH="526" progId="TCLayout.ActiveDocument.1">
                  <p:embed/>
                  <p:pic>
                    <p:nvPicPr>
                      <p:cNvPr id="0" name=""/>
                      <p:cNvPicPr/>
                      <p:nvPr/>
                    </p:nvPicPr>
                    <p:blipFill>
                      <a:blip r:embed="rId7"/>
                      <a:stretch>
                        <a:fillRect/>
                      </a:stretch>
                    </p:blipFill>
                    <p:spPr>
                      <a:xfrm>
                        <a:off x="1144192" y="1192"/>
                        <a:ext cx="1190" cy="1190"/>
                      </a:xfrm>
                      <a:prstGeom prst="rect">
                        <a:avLst/>
                      </a:prstGeom>
                    </p:spPr>
                  </p:pic>
                </p:oleObj>
              </mc:Fallback>
            </mc:AlternateContent>
          </a:graphicData>
        </a:graphic>
      </p:graphicFrame>
      <p:sp>
        <p:nvSpPr>
          <p:cNvPr id="68" name="Rectangle 67" hidden="1"/>
          <p:cNvSpPr/>
          <p:nvPr>
            <p:custDataLst>
              <p:tags r:id="rId3"/>
            </p:custDataLst>
          </p:nvPr>
        </p:nvSpPr>
        <p:spPr bwMode="auto">
          <a:xfrm>
            <a:off x="1143000" y="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750" dirty="0">
              <a:solidFill>
                <a:schemeClr val="tx1"/>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3" name="Title 2"/>
          <p:cNvSpPr>
            <a:spLocks noGrp="1"/>
          </p:cNvSpPr>
          <p:nvPr>
            <p:ph type="title"/>
          </p:nvPr>
        </p:nvSpPr>
        <p:spPr>
          <a:xfrm>
            <a:off x="1381248" y="903244"/>
            <a:ext cx="7432012" cy="407525"/>
          </a:xfrm>
        </p:spPr>
        <p:txBody>
          <a:bodyPr/>
          <a:lstStyle/>
          <a:p>
            <a:r>
              <a:rPr lang="en-US" dirty="0">
                <a:latin typeface="Arial" panose="020B0604020202020204" pitchFamily="34" charset="0"/>
                <a:cs typeface="Arial" panose="020B0604020202020204" pitchFamily="34" charset="0"/>
              </a:rPr>
              <a:t>The African Development Bank’s interventions cover all facets of renewable energy</a:t>
            </a:r>
            <a:endParaRPr lang="en-US" dirty="0"/>
          </a:p>
        </p:txBody>
      </p:sp>
      <p:pic>
        <p:nvPicPr>
          <p:cNvPr id="10" name="Picture 9">
            <a:extLst>
              <a:ext uri="{FF2B5EF4-FFF2-40B4-BE49-F238E27FC236}">
                <a16:creationId xmlns:a16="http://schemas.microsoft.com/office/drawing/2014/main" id="{3A6F9779-A67B-0249-A036-59C08FA6C9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1321" y="978705"/>
            <a:ext cx="316045" cy="324614"/>
          </a:xfrm>
          <a:prstGeom prst="rect">
            <a:avLst/>
          </a:prstGeom>
        </p:spPr>
      </p:pic>
      <p:graphicFrame>
        <p:nvGraphicFramePr>
          <p:cNvPr id="7" name="Table 6">
            <a:extLst>
              <a:ext uri="{FF2B5EF4-FFF2-40B4-BE49-F238E27FC236}">
                <a16:creationId xmlns:a16="http://schemas.microsoft.com/office/drawing/2014/main" id="{883FBC3D-0A97-BD45-BB94-DF20555C7E84}"/>
              </a:ext>
            </a:extLst>
          </p:cNvPr>
          <p:cNvGraphicFramePr>
            <a:graphicFrameLocks noGrp="1"/>
          </p:cNvGraphicFramePr>
          <p:nvPr>
            <p:extLst>
              <p:ext uri="{D42A27DB-BD31-4B8C-83A1-F6EECF244321}">
                <p14:modId xmlns:p14="http://schemas.microsoft.com/office/powerpoint/2010/main" val="3397844047"/>
              </p:ext>
            </p:extLst>
          </p:nvPr>
        </p:nvGraphicFramePr>
        <p:xfrm>
          <a:off x="226423" y="1683060"/>
          <a:ext cx="8358673" cy="3154680"/>
        </p:xfrm>
        <a:graphic>
          <a:graphicData uri="http://schemas.openxmlformats.org/drawingml/2006/table">
            <a:tbl>
              <a:tblPr firstRow="1" bandRow="1">
                <a:tableStyleId>{03B549BD-A454-4573-9C65-6684AB3E2B52}</a:tableStyleId>
              </a:tblPr>
              <a:tblGrid>
                <a:gridCol w="2700093">
                  <a:extLst>
                    <a:ext uri="{9D8B030D-6E8A-4147-A177-3AD203B41FA5}">
                      <a16:colId xmlns:a16="http://schemas.microsoft.com/office/drawing/2014/main" val="1579340106"/>
                    </a:ext>
                  </a:extLst>
                </a:gridCol>
                <a:gridCol w="5658580">
                  <a:extLst>
                    <a:ext uri="{9D8B030D-6E8A-4147-A177-3AD203B41FA5}">
                      <a16:colId xmlns:a16="http://schemas.microsoft.com/office/drawing/2014/main" val="1767421900"/>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tx1"/>
                          </a:solidFill>
                        </a:rPr>
                        <a:t>Utility-scale renewable energy generation</a:t>
                      </a:r>
                      <a:endParaRPr lang="en-US" sz="1100" dirty="0"/>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E00"/>
                    </a:solidFill>
                  </a:tcPr>
                </a:tc>
                <a:tc>
                  <a:txBody>
                    <a:bodyPr/>
                    <a:lstStyle/>
                    <a:p>
                      <a:pPr marL="171450" lvl="0" indent="-171450" rtl="0">
                        <a:buFont typeface="Arial" panose="020B0604020202020204" pitchFamily="34" charset="0"/>
                        <a:buChar char="•"/>
                      </a:pPr>
                      <a:r>
                        <a:rPr lang="en-GB" sz="1100" dirty="0"/>
                        <a:t>800 MW </a:t>
                      </a:r>
                      <a:r>
                        <a:rPr lang="en-GB" sz="1100" dirty="0" err="1"/>
                        <a:t>Midel</a:t>
                      </a:r>
                      <a:r>
                        <a:rPr lang="en-GB" sz="1100" dirty="0"/>
                        <a:t> Solar Complex in Morocco (approved in 2017).</a:t>
                      </a:r>
                      <a:endParaRPr lang="fr-FR" sz="1100" dirty="0"/>
                    </a:p>
                    <a:p>
                      <a:pPr marL="171450" lvl="0" indent="-171450">
                        <a:buFont typeface="Arial" panose="020B0604020202020204" pitchFamily="34" charset="0"/>
                        <a:buChar char="•"/>
                      </a:pPr>
                      <a:r>
                        <a:rPr lang="en-GB" sz="1100" dirty="0" err="1"/>
                        <a:t>Nachtigal</a:t>
                      </a:r>
                      <a:r>
                        <a:rPr lang="en-GB" sz="1100" dirty="0"/>
                        <a:t> 400 MW Hydro Power Plant in Cameroon (approved 2017.</a:t>
                      </a:r>
                      <a:endParaRPr lang="en-US" sz="1100" dirty="0"/>
                    </a:p>
                  </a:txBody>
                  <a:tcPr anchor="ctr">
                    <a:lnL w="12700" cap="flat" cmpd="sng" algn="ctr">
                      <a:noFill/>
                      <a:prstDash val="solid"/>
                      <a:round/>
                      <a:headEnd type="none" w="med" len="med"/>
                      <a:tailEnd type="none" w="med" len="med"/>
                    </a:lnL>
                    <a:lnR w="9525" cap="flat" cmpd="sng">
                      <a:noFill/>
                      <a:prstDash val="solid"/>
                      <a:round/>
                      <a:headEnd type="none" w="med" len="med"/>
                      <a:tailEnd type="none" w="med" len="med"/>
                    </a:lnR>
                    <a:lnT w="9525" cap="flat" cmpd="sng">
                      <a:noFill/>
                      <a:prstDash val="solid"/>
                      <a:round/>
                      <a:headEnd type="none" w="med" len="med"/>
                      <a:tailEnd type="none" w="med" len="med"/>
                    </a:lnT>
                    <a:lnB w="12700" cap="flat" cmpd="sng" algn="ctr">
                      <a:solidFill>
                        <a:srgbClr val="FFC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559854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tx1"/>
                          </a:solidFill>
                        </a:rPr>
                        <a:t>Off-grid and mini-grid</a:t>
                      </a:r>
                      <a:endParaRPr lang="fr-FR" sz="1100" b="1" dirty="0">
                        <a:solidFill>
                          <a:schemeClr val="tx1"/>
                        </a:solidFill>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E00"/>
                    </a:solidFill>
                  </a:tcPr>
                </a:tc>
                <a:tc>
                  <a:txBody>
                    <a:bodyPr/>
                    <a:lstStyle/>
                    <a:p>
                      <a:pPr marL="171450" lvl="0" indent="-171450" rtl="0">
                        <a:buFont typeface="Arial" panose="020B0604020202020204" pitchFamily="34" charset="0"/>
                        <a:buChar char="•"/>
                      </a:pPr>
                      <a:r>
                        <a:rPr lang="en-GB" sz="1100" dirty="0"/>
                        <a:t>Technical assistance to address barriers to scaling-up of private sector mini-grids and solar home systems (e.g. GMG-MDP, Pilot TA in Togo in 2018).</a:t>
                      </a:r>
                      <a:endParaRPr lang="fr-FR" sz="1100" dirty="0"/>
                    </a:p>
                    <a:p>
                      <a:pPr marL="171450" lvl="0" indent="-171450" rtl="0">
                        <a:buFont typeface="Arial" panose="020B0604020202020204" pitchFamily="34" charset="0"/>
                        <a:buChar char="•"/>
                      </a:pPr>
                      <a:r>
                        <a:rPr lang="en-GB" sz="1100" dirty="0"/>
                        <a:t>Financing of private sector investors (e.g. </a:t>
                      </a:r>
                      <a:r>
                        <a:rPr lang="fr-FR" sz="1100" dirty="0"/>
                        <a:t>Pilot </a:t>
                      </a:r>
                      <a:r>
                        <a:rPr lang="fr-FR" sz="1100" dirty="0" err="1"/>
                        <a:t>Receivables</a:t>
                      </a:r>
                      <a:r>
                        <a:rPr lang="fr-FR" sz="1100" dirty="0"/>
                        <a:t> </a:t>
                      </a:r>
                      <a:r>
                        <a:rPr lang="fr-FR" sz="1100" dirty="0" err="1"/>
                        <a:t>financing</a:t>
                      </a:r>
                      <a:r>
                        <a:rPr lang="fr-FR" sz="1100" dirty="0"/>
                        <a:t> off-</a:t>
                      </a:r>
                      <a:r>
                        <a:rPr lang="fr-FR" sz="1100" dirty="0" err="1"/>
                        <a:t>grid</a:t>
                      </a:r>
                      <a:r>
                        <a:rPr lang="fr-FR" sz="1100" dirty="0"/>
                        <a:t> </a:t>
                      </a:r>
                      <a:r>
                        <a:rPr lang="fr-FR" sz="1100" dirty="0" err="1"/>
                        <a:t>project</a:t>
                      </a:r>
                      <a:r>
                        <a:rPr lang="fr-FR" sz="1100" dirty="0"/>
                        <a:t> in 2018).</a:t>
                      </a:r>
                    </a:p>
                  </a:txBody>
                  <a:tcPr anchor="ctr">
                    <a:lnL w="12700" cap="flat" cmpd="sng" algn="ctr">
                      <a:noFill/>
                      <a:prstDash val="solid"/>
                      <a:round/>
                      <a:headEnd type="none" w="med" len="med"/>
                      <a:tailEnd type="none" w="med" len="med"/>
                    </a:lnL>
                    <a:lnR w="9525" cap="flat" cmpd="sng">
                      <a:noFill/>
                      <a:prstDash val="solid"/>
                      <a:round/>
                      <a:headEnd type="none" w="med" len="med"/>
                      <a:tailEnd type="none" w="med" len="med"/>
                    </a:lnR>
                    <a:lnT w="12700" cap="flat" cmpd="sng" algn="ctr">
                      <a:solidFill>
                        <a:srgbClr val="FFCE00"/>
                      </a:solidFill>
                      <a:prstDash val="solid"/>
                      <a:round/>
                      <a:headEnd type="none" w="med" len="med"/>
                      <a:tailEnd type="none" w="med" len="med"/>
                    </a:lnT>
                    <a:lnB w="12700" cap="flat" cmpd="sng" algn="ctr">
                      <a:solidFill>
                        <a:srgbClr val="FFC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2519656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tx1"/>
                          </a:solidFill>
                        </a:rPr>
                        <a:t>Investments in private equity and debt funds</a:t>
                      </a:r>
                      <a:endParaRPr lang="fr-FR" sz="1100" b="1" dirty="0">
                        <a:solidFill>
                          <a:schemeClr val="tx1"/>
                        </a:solidFill>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E0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t>The Facility for Energy Inclusion (FEI) for which the Bank approved a USD 100 million anchor investment to close funding gaps in the small-scale energy infrastructure sector and </a:t>
                      </a:r>
                      <a:r>
                        <a:rPr lang="en-GB" sz="1100" dirty="0" err="1"/>
                        <a:t>catalyze</a:t>
                      </a:r>
                      <a:r>
                        <a:rPr lang="en-GB" sz="1100" dirty="0"/>
                        <a:t> growth in last-mile energy access solutions.</a:t>
                      </a:r>
                      <a:endParaRPr lang="fr-FR" sz="1100" dirty="0"/>
                    </a:p>
                  </a:txBody>
                  <a:tcPr anchor="ctr">
                    <a:lnL w="12700" cap="flat" cmpd="sng" algn="ctr">
                      <a:noFill/>
                      <a:prstDash val="solid"/>
                      <a:round/>
                      <a:headEnd type="none" w="med" len="med"/>
                      <a:tailEnd type="none" w="med" len="med"/>
                    </a:lnL>
                    <a:lnR w="9525" cap="flat" cmpd="sng">
                      <a:noFill/>
                      <a:prstDash val="solid"/>
                      <a:round/>
                      <a:headEnd type="none" w="med" len="med"/>
                      <a:tailEnd type="none" w="med" len="med"/>
                    </a:lnR>
                    <a:lnT w="12700" cap="flat" cmpd="sng" algn="ctr">
                      <a:solidFill>
                        <a:srgbClr val="FFCE00"/>
                      </a:solidFill>
                      <a:prstDash val="solid"/>
                      <a:round/>
                      <a:headEnd type="none" w="med" len="med"/>
                      <a:tailEnd type="none" w="med" len="med"/>
                    </a:lnT>
                    <a:lnB w="12700" cap="flat" cmpd="sng" algn="ctr">
                      <a:solidFill>
                        <a:srgbClr val="FFC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25527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tx1"/>
                          </a:solidFill>
                        </a:rPr>
                        <a:t>Project preparation support</a:t>
                      </a:r>
                      <a:endParaRPr lang="fr-FR" sz="1100" b="1" dirty="0">
                        <a:solidFill>
                          <a:schemeClr val="tx1"/>
                        </a:solidFill>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E0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t>The Bank’s SEFA has approved 12 projects in 2017 that aim to bring additional 166 MW and leverage USD 340 million.</a:t>
                      </a:r>
                      <a:endParaRPr lang="fr-FR" sz="1100" dirty="0"/>
                    </a:p>
                  </a:txBody>
                  <a:tcPr anchor="ctr">
                    <a:lnL w="12700" cap="flat" cmpd="sng" algn="ctr">
                      <a:noFill/>
                      <a:prstDash val="solid"/>
                      <a:round/>
                      <a:headEnd type="none" w="med" len="med"/>
                      <a:tailEnd type="none" w="med" len="med"/>
                    </a:lnL>
                    <a:lnR w="9525" cap="flat" cmpd="sng">
                      <a:noFill/>
                      <a:prstDash val="solid"/>
                      <a:round/>
                      <a:headEnd type="none" w="med" len="med"/>
                      <a:tailEnd type="none" w="med" len="med"/>
                    </a:lnR>
                    <a:lnT w="12700" cap="flat" cmpd="sng" algn="ctr">
                      <a:solidFill>
                        <a:srgbClr val="FFCE00"/>
                      </a:solidFill>
                      <a:prstDash val="solid"/>
                      <a:round/>
                      <a:headEnd type="none" w="med" len="med"/>
                      <a:tailEnd type="none" w="med" len="med"/>
                    </a:lnT>
                    <a:lnB w="12700" cap="flat" cmpd="sng" algn="ctr">
                      <a:solidFill>
                        <a:srgbClr val="FFC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62110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rPr>
                        <a:t>Transmission projects including crucial regional interconnectors that are critical to evacuate power generated from renewable energy</a:t>
                      </a:r>
                      <a:endParaRPr lang="fr-FR" sz="1100" b="1" dirty="0">
                        <a:solidFill>
                          <a:schemeClr val="tx1"/>
                        </a:solidFill>
                      </a:endParaRP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E00"/>
                    </a:solidFill>
                  </a:tcPr>
                </a:tc>
                <a:tc>
                  <a:txBody>
                    <a:bodyPr/>
                    <a:lstStyle/>
                    <a:p>
                      <a:pPr marL="171450" lvl="0" indent="-171450" rtl="0">
                        <a:buFont typeface="Arial" panose="020B0604020202020204" pitchFamily="34" charset="0"/>
                        <a:buChar char="•"/>
                      </a:pPr>
                      <a:r>
                        <a:rPr lang="fr-FR" sz="1100" dirty="0" err="1"/>
                        <a:t>Cameroon</a:t>
                      </a:r>
                      <a:r>
                        <a:rPr lang="fr-FR" sz="1100" dirty="0"/>
                        <a:t>-Chad Power </a:t>
                      </a:r>
                      <a:r>
                        <a:rPr lang="fr-FR" sz="1100" dirty="0" err="1"/>
                        <a:t>Interconnection</a:t>
                      </a:r>
                      <a:r>
                        <a:rPr lang="fr-FR" sz="1100" dirty="0"/>
                        <a:t> (</a:t>
                      </a:r>
                      <a:r>
                        <a:rPr lang="fr-FR" sz="1100" dirty="0" err="1"/>
                        <a:t>approved</a:t>
                      </a:r>
                      <a:r>
                        <a:rPr lang="fr-FR" sz="1100" dirty="0"/>
                        <a:t> in 2017).</a:t>
                      </a:r>
                    </a:p>
                    <a:p>
                      <a:pPr marL="171450" lvl="0" indent="-171450" rtl="0">
                        <a:buFont typeface="Arial" panose="020B0604020202020204" pitchFamily="34" charset="0"/>
                        <a:buChar char="•"/>
                      </a:pPr>
                      <a:r>
                        <a:rPr lang="fr-FR" sz="1100" dirty="0" err="1"/>
                        <a:t>Guinea</a:t>
                      </a:r>
                      <a:r>
                        <a:rPr lang="fr-FR" sz="1100" dirty="0"/>
                        <a:t>-Mali Power </a:t>
                      </a:r>
                      <a:r>
                        <a:rPr lang="fr-FR" sz="1100" dirty="0" err="1"/>
                        <a:t>Interconnection</a:t>
                      </a:r>
                      <a:r>
                        <a:rPr lang="fr-FR" sz="1100" dirty="0"/>
                        <a:t> (</a:t>
                      </a:r>
                      <a:r>
                        <a:rPr lang="fr-FR" sz="1100" dirty="0" err="1"/>
                        <a:t>approved</a:t>
                      </a:r>
                      <a:r>
                        <a:rPr lang="fr-FR" sz="1100" dirty="0"/>
                        <a:t> in 2017).</a:t>
                      </a:r>
                    </a:p>
                    <a:p>
                      <a:pPr marL="171450" lvl="0" indent="-171450" rtl="0">
                        <a:buFont typeface="Arial" panose="020B0604020202020204" pitchFamily="34" charset="0"/>
                        <a:buChar char="•"/>
                      </a:pPr>
                      <a:r>
                        <a:rPr lang="fr-FR" sz="1100" dirty="0"/>
                        <a:t>Nigeria-Niger-Burkina Faso-Mali Power </a:t>
                      </a:r>
                      <a:r>
                        <a:rPr lang="fr-FR" sz="1100" dirty="0" err="1"/>
                        <a:t>Interconnection</a:t>
                      </a:r>
                      <a:r>
                        <a:rPr lang="fr-FR" sz="1100" dirty="0"/>
                        <a:t> (</a:t>
                      </a:r>
                      <a:r>
                        <a:rPr lang="fr-FR" sz="1100" dirty="0" err="1"/>
                        <a:t>approved</a:t>
                      </a:r>
                      <a:r>
                        <a:rPr lang="fr-FR" sz="1100" dirty="0"/>
                        <a:t> in 2017).</a:t>
                      </a:r>
                    </a:p>
                  </a:txBody>
                  <a:tcPr anchor="ctr">
                    <a:lnL w="12700" cap="flat" cmpd="sng" algn="ctr">
                      <a:noFill/>
                      <a:prstDash val="solid"/>
                      <a:round/>
                      <a:headEnd type="none" w="med" len="med"/>
                      <a:tailEnd type="none" w="med" len="med"/>
                    </a:lnL>
                    <a:lnR w="9525" cap="flat" cmpd="sng">
                      <a:noFill/>
                      <a:prstDash val="solid"/>
                      <a:round/>
                      <a:headEnd type="none" w="med" len="med"/>
                      <a:tailEnd type="none" w="med" len="med"/>
                    </a:lnR>
                    <a:lnT w="12700" cap="flat" cmpd="sng" algn="ctr">
                      <a:solidFill>
                        <a:srgbClr val="FFCE00"/>
                      </a:solidFill>
                      <a:prstDash val="solid"/>
                      <a:round/>
                      <a:headEnd type="none" w="med" len="med"/>
                      <a:tailEnd type="none" w="med" len="med"/>
                    </a:lnT>
                    <a:lnB w="9525" cap="flat" cmpd="sng">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7774360"/>
                  </a:ext>
                </a:extLst>
              </a:tr>
            </a:tbl>
          </a:graphicData>
        </a:graphic>
      </p:graphicFrame>
    </p:spTree>
    <p:extLst>
      <p:ext uri="{BB962C8B-B14F-4D97-AF65-F5344CB8AC3E}">
        <p14:creationId xmlns:p14="http://schemas.microsoft.com/office/powerpoint/2010/main" val="2154409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A6589-098C-B044-8C5C-14A50EBAA2A7}"/>
              </a:ext>
            </a:extLst>
          </p:cNvPr>
          <p:cNvSpPr>
            <a:spLocks noGrp="1"/>
          </p:cNvSpPr>
          <p:nvPr>
            <p:ph type="title"/>
          </p:nvPr>
        </p:nvSpPr>
        <p:spPr>
          <a:xfrm>
            <a:off x="1381250" y="922668"/>
            <a:ext cx="7480648" cy="435600"/>
          </a:xfrm>
        </p:spPr>
        <p:txBody>
          <a:bodyPr/>
          <a:lstStyle/>
          <a:p>
            <a:r>
              <a:rPr lang="en-US" sz="2400" dirty="0"/>
              <a:t>Selected renewable energy projects supported by the African Development Bank (1/3)</a:t>
            </a:r>
          </a:p>
        </p:txBody>
      </p:sp>
      <p:sp>
        <p:nvSpPr>
          <p:cNvPr id="3" name="Text Placeholder 2">
            <a:extLst>
              <a:ext uri="{FF2B5EF4-FFF2-40B4-BE49-F238E27FC236}">
                <a16:creationId xmlns:a16="http://schemas.microsoft.com/office/drawing/2014/main" id="{5CE5B30C-765F-AD4E-BE4B-B461209F93AA}"/>
              </a:ext>
            </a:extLst>
          </p:cNvPr>
          <p:cNvSpPr>
            <a:spLocks noGrp="1"/>
          </p:cNvSpPr>
          <p:nvPr>
            <p:ph type="body" idx="1"/>
          </p:nvPr>
        </p:nvSpPr>
        <p:spPr>
          <a:xfrm>
            <a:off x="772180" y="1616188"/>
            <a:ext cx="7839385" cy="3399987"/>
          </a:xfrm>
        </p:spPr>
        <p:txBody>
          <a:bodyPr/>
          <a:lstStyle/>
          <a:p>
            <a:pPr algn="just"/>
            <a:r>
              <a:rPr lang="en-US" sz="1400" b="1" dirty="0"/>
              <a:t>The </a:t>
            </a:r>
            <a:r>
              <a:rPr lang="en-US" sz="1400" b="1" dirty="0" err="1"/>
              <a:t>Ouarzazate</a:t>
            </a:r>
            <a:r>
              <a:rPr lang="en-US" sz="1400" b="1" dirty="0"/>
              <a:t> Solar Complex in Morocco </a:t>
            </a:r>
            <a:r>
              <a:rPr lang="en-US" sz="1400" dirty="0"/>
              <a:t>for which the Bank has committed EUR 134 M as well as USD 219 M from the Clean Investment Funds (CIF) aims to produce 510 MW of solar power. The 160 MW first phase was inaugurated in 2016 while the second phase of 350 MW is under construction – which will make </a:t>
            </a:r>
            <a:r>
              <a:rPr lang="en-US" sz="1400" dirty="0" err="1"/>
              <a:t>Ouarzazate</a:t>
            </a:r>
            <a:r>
              <a:rPr lang="en-US" sz="1400" dirty="0"/>
              <a:t> one of the largest solar complexes in the world.</a:t>
            </a:r>
          </a:p>
          <a:p>
            <a:pPr algn="just"/>
            <a:r>
              <a:rPr lang="en-US" sz="1400" b="1" dirty="0"/>
              <a:t>The 100 MW </a:t>
            </a:r>
            <a:r>
              <a:rPr lang="en-US" sz="1400" b="1" dirty="0" err="1"/>
              <a:t>Xina</a:t>
            </a:r>
            <a:r>
              <a:rPr lang="en-US" sz="1400" b="1" dirty="0"/>
              <a:t> concentrated solar IPP in South Africa </a:t>
            </a:r>
            <a:r>
              <a:rPr lang="en-US" sz="1400" dirty="0"/>
              <a:t>– that has a storage component to help meet peak demand in the evening – is in commercial operation since 2017. In 2014, the </a:t>
            </a:r>
            <a:r>
              <a:rPr lang="en-US" sz="1400" dirty="0" err="1"/>
              <a:t>AfDB</a:t>
            </a:r>
            <a:r>
              <a:rPr lang="en-US" sz="1400" dirty="0"/>
              <a:t> has approved a senior loan of USD 100 M along with a senior loan of USD 41.5 M from the CIF.</a:t>
            </a:r>
          </a:p>
          <a:p>
            <a:pPr algn="just"/>
            <a:r>
              <a:rPr lang="en-US" sz="1400" b="1" dirty="0"/>
              <a:t>The 33 MW Segou Solar IPP is Mali’s first utility-scale solar project</a:t>
            </a:r>
            <a:r>
              <a:rPr lang="en-US" sz="1400" dirty="0"/>
              <a:t>. In 2016, the </a:t>
            </a:r>
            <a:r>
              <a:rPr lang="en-US" sz="1400" dirty="0" err="1"/>
              <a:t>AfDB</a:t>
            </a:r>
            <a:r>
              <a:rPr lang="en-US" sz="1400" dirty="0"/>
              <a:t> has approved a senior loan of USD 8.5 M along with a senior loan of USD 25 M from the Climate Investment Funds (CIF).</a:t>
            </a:r>
            <a:endParaRPr lang="fr-FR" sz="1400" dirty="0"/>
          </a:p>
        </p:txBody>
      </p:sp>
    </p:spTree>
    <p:extLst>
      <p:ext uri="{BB962C8B-B14F-4D97-AF65-F5344CB8AC3E}">
        <p14:creationId xmlns:p14="http://schemas.microsoft.com/office/powerpoint/2010/main" val="2245139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A6589-098C-B044-8C5C-14A50EBAA2A7}"/>
              </a:ext>
            </a:extLst>
          </p:cNvPr>
          <p:cNvSpPr>
            <a:spLocks noGrp="1"/>
          </p:cNvSpPr>
          <p:nvPr>
            <p:ph type="title"/>
          </p:nvPr>
        </p:nvSpPr>
        <p:spPr>
          <a:xfrm>
            <a:off x="1381250" y="922668"/>
            <a:ext cx="7480648" cy="435600"/>
          </a:xfrm>
        </p:spPr>
        <p:txBody>
          <a:bodyPr/>
          <a:lstStyle/>
          <a:p>
            <a:r>
              <a:rPr lang="en-US" sz="2400" dirty="0"/>
              <a:t>Selected renewable energy projects supported by the African Development Bank (2/3)</a:t>
            </a:r>
          </a:p>
        </p:txBody>
      </p:sp>
      <p:sp>
        <p:nvSpPr>
          <p:cNvPr id="3" name="Text Placeholder 2">
            <a:extLst>
              <a:ext uri="{FF2B5EF4-FFF2-40B4-BE49-F238E27FC236}">
                <a16:creationId xmlns:a16="http://schemas.microsoft.com/office/drawing/2014/main" id="{5CE5B30C-765F-AD4E-BE4B-B461209F93AA}"/>
              </a:ext>
            </a:extLst>
          </p:cNvPr>
          <p:cNvSpPr>
            <a:spLocks noGrp="1"/>
          </p:cNvSpPr>
          <p:nvPr>
            <p:ph type="body" idx="1"/>
          </p:nvPr>
        </p:nvSpPr>
        <p:spPr>
          <a:xfrm>
            <a:off x="778215" y="1636765"/>
            <a:ext cx="8083684" cy="3399987"/>
          </a:xfrm>
        </p:spPr>
        <p:txBody>
          <a:bodyPr/>
          <a:lstStyle/>
          <a:p>
            <a:pPr algn="just"/>
            <a:r>
              <a:rPr lang="en-US" sz="1400" b="1" dirty="0"/>
              <a:t>The Lake Turkana Wind Power Project in Kenya </a:t>
            </a:r>
            <a:r>
              <a:rPr lang="en-US" sz="1400" dirty="0"/>
              <a:t>comprises a 300 MW Wind Farm IPP and a 428 km transmission line to connect the power station to the power grid constructed by the Government of Kenya. The </a:t>
            </a:r>
            <a:r>
              <a:rPr lang="en-US" sz="1400" dirty="0" err="1"/>
              <a:t>AfDB</a:t>
            </a:r>
            <a:r>
              <a:rPr lang="en-US" sz="1400" dirty="0"/>
              <a:t> provided an ADB loan of EUR 115 million as well as a EUR 20 million ADF Partial Risk Guarantee (PRG) to protect the power plant against the risk of the 428 km transmission line and substations construction delay</a:t>
            </a:r>
          </a:p>
          <a:p>
            <a:pPr algn="just"/>
            <a:endParaRPr lang="en-US" sz="1400" b="1" dirty="0"/>
          </a:p>
          <a:p>
            <a:pPr algn="just"/>
            <a:r>
              <a:rPr lang="en-US" sz="1400" b="1" dirty="0"/>
              <a:t>The 120 MW </a:t>
            </a:r>
            <a:r>
              <a:rPr lang="en-US" sz="1400" b="1" dirty="0" err="1"/>
              <a:t>Itezhi-Tezhi</a:t>
            </a:r>
            <a:r>
              <a:rPr lang="en-US" sz="1400" b="1" dirty="0"/>
              <a:t> Hydro Power Plant in Zambia </a:t>
            </a:r>
            <a:r>
              <a:rPr lang="en-US" sz="1400" dirty="0"/>
              <a:t>was developed by a joint venture SPV equally owned by the Zambia Electricity Supply Company (ZESCO) and a private sponsor. The Bank has provided a mix of financing: the public sector funds (around USD 50 M) contributed to financing half of ZESCO’s equity participation in the SPV, provide technical assistance to ZESCO, as well as co-finance the 276 km transmission line to evacuate the power, while the ADB private sector funds provided a USD 38 senior debt to the SPV.</a:t>
            </a:r>
          </a:p>
          <a:p>
            <a:pPr marL="76200" indent="0" algn="just">
              <a:buNone/>
            </a:pPr>
            <a:endParaRPr lang="en-US" sz="1300" dirty="0"/>
          </a:p>
        </p:txBody>
      </p:sp>
    </p:spTree>
    <p:extLst>
      <p:ext uri="{BB962C8B-B14F-4D97-AF65-F5344CB8AC3E}">
        <p14:creationId xmlns:p14="http://schemas.microsoft.com/office/powerpoint/2010/main" val="27165472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A6589-098C-B044-8C5C-14A50EBAA2A7}"/>
              </a:ext>
            </a:extLst>
          </p:cNvPr>
          <p:cNvSpPr>
            <a:spLocks noGrp="1"/>
          </p:cNvSpPr>
          <p:nvPr>
            <p:ph type="title"/>
          </p:nvPr>
        </p:nvSpPr>
        <p:spPr>
          <a:xfrm>
            <a:off x="1381250" y="922668"/>
            <a:ext cx="7480648" cy="435600"/>
          </a:xfrm>
        </p:spPr>
        <p:txBody>
          <a:bodyPr/>
          <a:lstStyle/>
          <a:p>
            <a:r>
              <a:rPr lang="en-US" sz="2400" dirty="0"/>
              <a:t>Selected renewable energy projects supported by the African Development Bank (3/3)</a:t>
            </a:r>
          </a:p>
        </p:txBody>
      </p:sp>
      <p:sp>
        <p:nvSpPr>
          <p:cNvPr id="3" name="Text Placeholder 2">
            <a:extLst>
              <a:ext uri="{FF2B5EF4-FFF2-40B4-BE49-F238E27FC236}">
                <a16:creationId xmlns:a16="http://schemas.microsoft.com/office/drawing/2014/main" id="{5CE5B30C-765F-AD4E-BE4B-B461209F93AA}"/>
              </a:ext>
            </a:extLst>
          </p:cNvPr>
          <p:cNvSpPr>
            <a:spLocks noGrp="1"/>
          </p:cNvSpPr>
          <p:nvPr>
            <p:ph type="body" idx="1"/>
          </p:nvPr>
        </p:nvSpPr>
        <p:spPr>
          <a:xfrm>
            <a:off x="778215" y="1636765"/>
            <a:ext cx="7868074" cy="3399987"/>
          </a:xfrm>
        </p:spPr>
        <p:txBody>
          <a:bodyPr/>
          <a:lstStyle/>
          <a:p>
            <a:pPr algn="just"/>
            <a:r>
              <a:rPr lang="en-US" sz="1400" b="1" dirty="0"/>
              <a:t>The 42 MW </a:t>
            </a:r>
            <a:r>
              <a:rPr lang="en-US" sz="1400" b="1" dirty="0" err="1"/>
              <a:t>Achwa</a:t>
            </a:r>
            <a:r>
              <a:rPr lang="en-US" sz="1400" b="1" dirty="0"/>
              <a:t> 2 IPP is a run-of-river hydro power plant in Uganda</a:t>
            </a:r>
            <a:r>
              <a:rPr lang="en-US" sz="1400" dirty="0"/>
              <a:t>. In 2016, the </a:t>
            </a:r>
            <a:r>
              <a:rPr lang="en-US" sz="1400" dirty="0" err="1"/>
              <a:t>AfDB</a:t>
            </a:r>
            <a:r>
              <a:rPr lang="en-US" sz="1400" dirty="0"/>
              <a:t> has approved a senior loan of up to USD 20 M. The project has reached financial close end 2017 and commercial operations is expected over the new two year.</a:t>
            </a:r>
          </a:p>
          <a:p>
            <a:pPr algn="just"/>
            <a:endParaRPr lang="en-US" sz="1400" dirty="0"/>
          </a:p>
          <a:p>
            <a:pPr algn="just"/>
            <a:r>
              <a:rPr lang="en-US" sz="1400" b="1" dirty="0"/>
              <a:t>The initial development of Kenya’s </a:t>
            </a:r>
            <a:r>
              <a:rPr lang="en-US" sz="1400" b="1" dirty="0" err="1"/>
              <a:t>Menengai</a:t>
            </a:r>
            <a:r>
              <a:rPr lang="en-US" sz="1400" b="1" dirty="0"/>
              <a:t> steam field </a:t>
            </a:r>
            <a:r>
              <a:rPr lang="en-US" sz="1400" dirty="0"/>
              <a:t>for which the </a:t>
            </a:r>
            <a:r>
              <a:rPr lang="en-US" sz="1400" dirty="0" err="1"/>
              <a:t>AfDB</a:t>
            </a:r>
            <a:r>
              <a:rPr lang="en-US" sz="1400" dirty="0"/>
              <a:t> has committed around USD 110 M as well as USD 25 M from the CIF in 2011, has the potential to produce steam for around 105 MW capacity. Kenya has selected the first group of IPPs that are working towards financial close by 2018. The Bank is also providing partial risk guarantees (PRGs) to backstop the obligations of the state-owned entities vis-à-vis the IPPs.</a:t>
            </a:r>
          </a:p>
          <a:p>
            <a:pPr marL="76200" indent="0" algn="just">
              <a:buNone/>
            </a:pPr>
            <a:endParaRPr lang="en-US" sz="1300" dirty="0"/>
          </a:p>
        </p:txBody>
      </p:sp>
    </p:spTree>
    <p:extLst>
      <p:ext uri="{BB962C8B-B14F-4D97-AF65-F5344CB8AC3E}">
        <p14:creationId xmlns:p14="http://schemas.microsoft.com/office/powerpoint/2010/main" val="1949429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Shape 110"/>
          <p:cNvSpPr txBox="1">
            <a:spLocks noGrp="1"/>
          </p:cNvSpPr>
          <p:nvPr>
            <p:ph type="title"/>
          </p:nvPr>
        </p:nvSpPr>
        <p:spPr>
          <a:xfrm>
            <a:off x="1381250" y="919839"/>
            <a:ext cx="3878400" cy="435600"/>
          </a:xfrm>
          <a:prstGeom prst="rect">
            <a:avLst/>
          </a:prstGeom>
          <a:noFill/>
        </p:spPr>
        <p:txBody>
          <a:bodyPr spcFirstLastPara="1" wrap="square" lIns="91425" tIns="91425" rIns="91425" bIns="91425" anchor="ctr" anchorCtr="0">
            <a:noAutofit/>
          </a:bodyPr>
          <a:lstStyle/>
          <a:p>
            <a:pPr marL="0" lvl="0" indent="0">
              <a:spcBef>
                <a:spcPts val="0"/>
              </a:spcBef>
              <a:spcAft>
                <a:spcPts val="0"/>
              </a:spcAft>
              <a:buNone/>
            </a:pPr>
            <a:r>
              <a:rPr lang="en-US" dirty="0"/>
              <a:t>Presentation </a:t>
            </a:r>
            <a:r>
              <a:rPr lang="en-US" dirty="0">
                <a:highlight>
                  <a:srgbClr val="FFCD00"/>
                </a:highlight>
              </a:rPr>
              <a:t>outline</a:t>
            </a:r>
            <a:endParaRPr dirty="0">
              <a:highlight>
                <a:srgbClr val="FFCD00"/>
              </a:highlight>
            </a:endParaRPr>
          </a:p>
        </p:txBody>
      </p:sp>
      <p:sp>
        <p:nvSpPr>
          <p:cNvPr id="111" name="Shape 111"/>
          <p:cNvSpPr txBox="1">
            <a:spLocks noGrp="1"/>
          </p:cNvSpPr>
          <p:nvPr>
            <p:ph type="body" idx="1"/>
          </p:nvPr>
        </p:nvSpPr>
        <p:spPr>
          <a:xfrm>
            <a:off x="1381250" y="1616470"/>
            <a:ext cx="6809700" cy="3112200"/>
          </a:xfrm>
          <a:prstGeom prst="rect">
            <a:avLst/>
          </a:prstGeom>
        </p:spPr>
        <p:txBody>
          <a:bodyPr spcFirstLastPara="1" wrap="square" lIns="91425" tIns="91425" rIns="91425" bIns="91425" anchor="t" anchorCtr="0">
            <a:noAutofit/>
          </a:bodyPr>
          <a:lstStyle/>
          <a:p>
            <a:pPr marL="457200" lvl="0" indent="-381000" rtl="0">
              <a:spcBef>
                <a:spcPts val="600"/>
              </a:spcBef>
              <a:spcAft>
                <a:spcPts val="0"/>
              </a:spcAft>
              <a:buSzPts val="2400"/>
              <a:buChar char="◉"/>
            </a:pPr>
            <a:r>
              <a:rPr lang="fr-FR" sz="2000" dirty="0"/>
              <a:t>The Bank </a:t>
            </a:r>
            <a:r>
              <a:rPr lang="fr-FR" sz="2000" dirty="0" err="1"/>
              <a:t>Strategy</a:t>
            </a:r>
            <a:r>
              <a:rPr lang="fr-FR" sz="2000" dirty="0"/>
              <a:t> for the New Deal on </a:t>
            </a:r>
            <a:r>
              <a:rPr lang="fr-FR" sz="2000" dirty="0" err="1"/>
              <a:t>Energy</a:t>
            </a:r>
            <a:r>
              <a:rPr lang="fr-FR" sz="2000" dirty="0"/>
              <a:t> for </a:t>
            </a:r>
            <a:r>
              <a:rPr lang="fr-FR" sz="2000" dirty="0" err="1"/>
              <a:t>Africa</a:t>
            </a:r>
            <a:endParaRPr sz="2000" dirty="0"/>
          </a:p>
          <a:p>
            <a:pPr marL="457200" lvl="0" indent="-381000" rtl="0">
              <a:spcBef>
                <a:spcPts val="0"/>
              </a:spcBef>
              <a:spcAft>
                <a:spcPts val="0"/>
              </a:spcAft>
              <a:buSzPts val="2400"/>
              <a:buChar char="◉"/>
            </a:pPr>
            <a:r>
              <a:rPr lang="en-US" sz="2000" dirty="0"/>
              <a:t>Africa’s renewable energy potential and operations supported by the African Development Bank</a:t>
            </a:r>
          </a:p>
          <a:p>
            <a:pPr lvl="0">
              <a:spcBef>
                <a:spcPts val="0"/>
              </a:spcBef>
            </a:pPr>
            <a:r>
              <a:rPr lang="en-US" sz="2000" b="1" dirty="0"/>
              <a:t>African Development Bank </a:t>
            </a:r>
            <a:r>
              <a:rPr lang="en-US" sz="2000" b="1" dirty="0" smtClean="0"/>
              <a:t>special instruments </a:t>
            </a:r>
            <a:r>
              <a:rPr lang="en-US" sz="2000" b="1" dirty="0"/>
              <a:t>and initiatives in renewable energy</a:t>
            </a:r>
          </a:p>
          <a:p>
            <a:pPr lvl="0">
              <a:spcBef>
                <a:spcPts val="0"/>
              </a:spcBef>
            </a:pPr>
            <a:r>
              <a:rPr lang="en-US" sz="2000" dirty="0"/>
              <a:t>2018 Outlook: renewable energy projects and initiatives </a:t>
            </a:r>
          </a:p>
          <a:p>
            <a:pPr marL="0" lvl="0" indent="0">
              <a:spcBef>
                <a:spcPts val="600"/>
              </a:spcBef>
              <a:spcAft>
                <a:spcPts val="0"/>
              </a:spcAft>
              <a:buNone/>
            </a:pPr>
            <a:endParaRPr sz="2000" dirty="0"/>
          </a:p>
        </p:txBody>
      </p:sp>
      <p:grpSp>
        <p:nvGrpSpPr>
          <p:cNvPr id="9" name="Shape 413"/>
          <p:cNvGrpSpPr/>
          <p:nvPr/>
        </p:nvGrpSpPr>
        <p:grpSpPr>
          <a:xfrm>
            <a:off x="895890" y="982629"/>
            <a:ext cx="217750" cy="284040"/>
            <a:chOff x="590250" y="244200"/>
            <a:chExt cx="407975" cy="532175"/>
          </a:xfrm>
        </p:grpSpPr>
        <p:sp>
          <p:nvSpPr>
            <p:cNvPr id="10" name="Shape 414"/>
            <p:cNvSpPr/>
            <p:nvPr/>
          </p:nvSpPr>
          <p:spPr>
            <a:xfrm>
              <a:off x="623125" y="313625"/>
              <a:ext cx="375100" cy="462750"/>
            </a:xfrm>
            <a:custGeom>
              <a:avLst/>
              <a:gdLst/>
              <a:ahLst/>
              <a:cxnLst/>
              <a:rect l="0" t="0" r="0" b="0"/>
              <a:pathLst>
                <a:path w="15004" h="18510" fill="none" extrusionOk="0">
                  <a:moveTo>
                    <a:pt x="1" y="17536"/>
                  </a:moveTo>
                  <a:lnTo>
                    <a:pt x="1" y="17536"/>
                  </a:lnTo>
                  <a:lnTo>
                    <a:pt x="1" y="17536"/>
                  </a:lnTo>
                  <a:lnTo>
                    <a:pt x="25" y="17682"/>
                  </a:lnTo>
                  <a:lnTo>
                    <a:pt x="49" y="17852"/>
                  </a:lnTo>
                  <a:lnTo>
                    <a:pt x="123" y="18023"/>
                  </a:lnTo>
                  <a:lnTo>
                    <a:pt x="220" y="18193"/>
                  </a:lnTo>
                  <a:lnTo>
                    <a:pt x="293" y="18291"/>
                  </a:lnTo>
                  <a:lnTo>
                    <a:pt x="390" y="18364"/>
                  </a:lnTo>
                  <a:lnTo>
                    <a:pt x="488" y="18412"/>
                  </a:lnTo>
                  <a:lnTo>
                    <a:pt x="610" y="18461"/>
                  </a:lnTo>
                  <a:lnTo>
                    <a:pt x="756" y="18510"/>
                  </a:lnTo>
                  <a:lnTo>
                    <a:pt x="926" y="18510"/>
                  </a:lnTo>
                  <a:lnTo>
                    <a:pt x="14468" y="18510"/>
                  </a:lnTo>
                  <a:lnTo>
                    <a:pt x="14468" y="18510"/>
                  </a:lnTo>
                  <a:lnTo>
                    <a:pt x="14541" y="18510"/>
                  </a:lnTo>
                  <a:lnTo>
                    <a:pt x="14614" y="18485"/>
                  </a:lnTo>
                  <a:lnTo>
                    <a:pt x="14736" y="18412"/>
                  </a:lnTo>
                  <a:lnTo>
                    <a:pt x="14833" y="18291"/>
                  </a:lnTo>
                  <a:lnTo>
                    <a:pt x="14906" y="18144"/>
                  </a:lnTo>
                  <a:lnTo>
                    <a:pt x="14955" y="17974"/>
                  </a:lnTo>
                  <a:lnTo>
                    <a:pt x="14979" y="17779"/>
                  </a:lnTo>
                  <a:lnTo>
                    <a:pt x="15003" y="17438"/>
                  </a:lnTo>
                  <a:lnTo>
                    <a:pt x="15003" y="487"/>
                  </a:lnTo>
                  <a:lnTo>
                    <a:pt x="15003" y="487"/>
                  </a:lnTo>
                  <a:lnTo>
                    <a:pt x="15003" y="341"/>
                  </a:lnTo>
                  <a:lnTo>
                    <a:pt x="14979" y="219"/>
                  </a:lnTo>
                  <a:lnTo>
                    <a:pt x="14955" y="146"/>
                  </a:lnTo>
                  <a:lnTo>
                    <a:pt x="14906" y="73"/>
                  </a:lnTo>
                  <a:lnTo>
                    <a:pt x="14833" y="49"/>
                  </a:lnTo>
                  <a:lnTo>
                    <a:pt x="14736" y="24"/>
                  </a:lnTo>
                  <a:lnTo>
                    <a:pt x="14468"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 name="Shape 415"/>
            <p:cNvSpPr/>
            <p:nvPr/>
          </p:nvSpPr>
          <p:spPr>
            <a:xfrm>
              <a:off x="590250" y="269775"/>
              <a:ext cx="377525" cy="462775"/>
            </a:xfrm>
            <a:custGeom>
              <a:avLst/>
              <a:gdLst/>
              <a:ahLst/>
              <a:cxnLst/>
              <a:rect l="0" t="0" r="0" b="0"/>
              <a:pathLst>
                <a:path w="15101" h="18511" fill="none" extrusionOk="0">
                  <a:moveTo>
                    <a:pt x="14321" y="0"/>
                  </a:moveTo>
                  <a:lnTo>
                    <a:pt x="780" y="0"/>
                  </a:lnTo>
                  <a:lnTo>
                    <a:pt x="780" y="0"/>
                  </a:lnTo>
                  <a:lnTo>
                    <a:pt x="634" y="25"/>
                  </a:lnTo>
                  <a:lnTo>
                    <a:pt x="488" y="74"/>
                  </a:lnTo>
                  <a:lnTo>
                    <a:pt x="342" y="122"/>
                  </a:lnTo>
                  <a:lnTo>
                    <a:pt x="220" y="220"/>
                  </a:lnTo>
                  <a:lnTo>
                    <a:pt x="122" y="341"/>
                  </a:lnTo>
                  <a:lnTo>
                    <a:pt x="74" y="488"/>
                  </a:lnTo>
                  <a:lnTo>
                    <a:pt x="25" y="634"/>
                  </a:lnTo>
                  <a:lnTo>
                    <a:pt x="1" y="780"/>
                  </a:lnTo>
                  <a:lnTo>
                    <a:pt x="1" y="17731"/>
                  </a:lnTo>
                  <a:lnTo>
                    <a:pt x="1" y="17731"/>
                  </a:lnTo>
                  <a:lnTo>
                    <a:pt x="25" y="17877"/>
                  </a:lnTo>
                  <a:lnTo>
                    <a:pt x="74" y="18023"/>
                  </a:lnTo>
                  <a:lnTo>
                    <a:pt x="122" y="18169"/>
                  </a:lnTo>
                  <a:lnTo>
                    <a:pt x="220" y="18291"/>
                  </a:lnTo>
                  <a:lnTo>
                    <a:pt x="342" y="18388"/>
                  </a:lnTo>
                  <a:lnTo>
                    <a:pt x="488" y="18437"/>
                  </a:lnTo>
                  <a:lnTo>
                    <a:pt x="634" y="18486"/>
                  </a:lnTo>
                  <a:lnTo>
                    <a:pt x="780" y="18510"/>
                  </a:lnTo>
                  <a:lnTo>
                    <a:pt x="14321" y="18510"/>
                  </a:lnTo>
                  <a:lnTo>
                    <a:pt x="14321" y="18510"/>
                  </a:lnTo>
                  <a:lnTo>
                    <a:pt x="14467" y="18486"/>
                  </a:lnTo>
                  <a:lnTo>
                    <a:pt x="14614" y="18437"/>
                  </a:lnTo>
                  <a:lnTo>
                    <a:pt x="14760" y="18388"/>
                  </a:lnTo>
                  <a:lnTo>
                    <a:pt x="14881" y="18291"/>
                  </a:lnTo>
                  <a:lnTo>
                    <a:pt x="14979" y="18169"/>
                  </a:lnTo>
                  <a:lnTo>
                    <a:pt x="15028" y="18023"/>
                  </a:lnTo>
                  <a:lnTo>
                    <a:pt x="15076" y="17877"/>
                  </a:lnTo>
                  <a:lnTo>
                    <a:pt x="15101" y="17731"/>
                  </a:lnTo>
                  <a:lnTo>
                    <a:pt x="15101" y="780"/>
                  </a:lnTo>
                  <a:lnTo>
                    <a:pt x="15101" y="780"/>
                  </a:lnTo>
                  <a:lnTo>
                    <a:pt x="15076" y="634"/>
                  </a:lnTo>
                  <a:lnTo>
                    <a:pt x="15028" y="488"/>
                  </a:lnTo>
                  <a:lnTo>
                    <a:pt x="14979" y="341"/>
                  </a:lnTo>
                  <a:lnTo>
                    <a:pt x="14881" y="220"/>
                  </a:lnTo>
                  <a:lnTo>
                    <a:pt x="14760" y="122"/>
                  </a:lnTo>
                  <a:lnTo>
                    <a:pt x="14614" y="74"/>
                  </a:lnTo>
                  <a:lnTo>
                    <a:pt x="14467" y="25"/>
                  </a:lnTo>
                  <a:lnTo>
                    <a:pt x="14321" y="0"/>
                  </a:lnTo>
                  <a:lnTo>
                    <a:pt x="14321"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2" name="Shape 416"/>
            <p:cNvSpPr/>
            <p:nvPr/>
          </p:nvSpPr>
          <p:spPr>
            <a:xfrm>
              <a:off x="796650" y="274025"/>
              <a:ext cx="45100" cy="45100"/>
            </a:xfrm>
            <a:custGeom>
              <a:avLst/>
              <a:gdLst/>
              <a:ahLst/>
              <a:cxnLst/>
              <a:rect l="0" t="0" r="0" b="0"/>
              <a:pathLst>
                <a:path w="1804" h="1804" fill="none" extrusionOk="0">
                  <a:moveTo>
                    <a:pt x="902" y="1"/>
                  </a:moveTo>
                  <a:lnTo>
                    <a:pt x="902" y="1"/>
                  </a:lnTo>
                  <a:lnTo>
                    <a:pt x="1073" y="25"/>
                  </a:lnTo>
                  <a:lnTo>
                    <a:pt x="1243" y="74"/>
                  </a:lnTo>
                  <a:lnTo>
                    <a:pt x="1414"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4" y="1657"/>
                  </a:lnTo>
                  <a:lnTo>
                    <a:pt x="1243" y="1730"/>
                  </a:lnTo>
                  <a:lnTo>
                    <a:pt x="1073" y="1779"/>
                  </a:lnTo>
                  <a:lnTo>
                    <a:pt x="902" y="1803"/>
                  </a:lnTo>
                  <a:lnTo>
                    <a:pt x="902" y="1803"/>
                  </a:lnTo>
                  <a:lnTo>
                    <a:pt x="732" y="1779"/>
                  </a:lnTo>
                  <a:lnTo>
                    <a:pt x="561" y="1730"/>
                  </a:lnTo>
                  <a:lnTo>
                    <a:pt x="391"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1" y="147"/>
                  </a:lnTo>
                  <a:lnTo>
                    <a:pt x="561" y="74"/>
                  </a:lnTo>
                  <a:lnTo>
                    <a:pt x="732" y="25"/>
                  </a:lnTo>
                  <a:lnTo>
                    <a:pt x="902" y="1"/>
                  </a:lnTo>
                  <a:lnTo>
                    <a:pt x="902"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 name="Shape 417"/>
            <p:cNvSpPr/>
            <p:nvPr/>
          </p:nvSpPr>
          <p:spPr>
            <a:xfrm>
              <a:off x="713850" y="274025"/>
              <a:ext cx="45075" cy="45100"/>
            </a:xfrm>
            <a:custGeom>
              <a:avLst/>
              <a:gdLst/>
              <a:ahLst/>
              <a:cxnLst/>
              <a:rect l="0" t="0" r="0" b="0"/>
              <a:pathLst>
                <a:path w="1803" h="1804" fill="none" extrusionOk="0">
                  <a:moveTo>
                    <a:pt x="902" y="1"/>
                  </a:moveTo>
                  <a:lnTo>
                    <a:pt x="902" y="1"/>
                  </a:lnTo>
                  <a:lnTo>
                    <a:pt x="1072" y="25"/>
                  </a:lnTo>
                  <a:lnTo>
                    <a:pt x="1243" y="74"/>
                  </a:lnTo>
                  <a:lnTo>
                    <a:pt x="1413"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0" y="147"/>
                  </a:lnTo>
                  <a:lnTo>
                    <a:pt x="561" y="74"/>
                  </a:lnTo>
                  <a:lnTo>
                    <a:pt x="731" y="25"/>
                  </a:lnTo>
                  <a:lnTo>
                    <a:pt x="902" y="1"/>
                  </a:lnTo>
                  <a:lnTo>
                    <a:pt x="902"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 name="Shape 418"/>
            <p:cNvSpPr/>
            <p:nvPr/>
          </p:nvSpPr>
          <p:spPr>
            <a:xfrm>
              <a:off x="631050" y="274025"/>
              <a:ext cx="45075" cy="45100"/>
            </a:xfrm>
            <a:custGeom>
              <a:avLst/>
              <a:gdLst/>
              <a:ahLst/>
              <a:cxnLst/>
              <a:rect l="0" t="0" r="0" b="0"/>
              <a:pathLst>
                <a:path w="1803" h="1804" fill="none" extrusionOk="0">
                  <a:moveTo>
                    <a:pt x="0" y="902"/>
                  </a:moveTo>
                  <a:lnTo>
                    <a:pt x="0" y="902"/>
                  </a:lnTo>
                  <a:lnTo>
                    <a:pt x="25" y="732"/>
                  </a:lnTo>
                  <a:lnTo>
                    <a:pt x="73" y="561"/>
                  </a:lnTo>
                  <a:lnTo>
                    <a:pt x="147" y="391"/>
                  </a:lnTo>
                  <a:lnTo>
                    <a:pt x="268" y="269"/>
                  </a:lnTo>
                  <a:lnTo>
                    <a:pt x="390" y="147"/>
                  </a:lnTo>
                  <a:lnTo>
                    <a:pt x="561" y="74"/>
                  </a:lnTo>
                  <a:lnTo>
                    <a:pt x="731" y="25"/>
                  </a:lnTo>
                  <a:lnTo>
                    <a:pt x="902" y="1"/>
                  </a:lnTo>
                  <a:lnTo>
                    <a:pt x="902" y="1"/>
                  </a:lnTo>
                  <a:lnTo>
                    <a:pt x="1072" y="25"/>
                  </a:lnTo>
                  <a:lnTo>
                    <a:pt x="1243" y="74"/>
                  </a:lnTo>
                  <a:lnTo>
                    <a:pt x="1413" y="147"/>
                  </a:lnTo>
                  <a:lnTo>
                    <a:pt x="1535" y="269"/>
                  </a:lnTo>
                  <a:lnTo>
                    <a:pt x="1657" y="391"/>
                  </a:lnTo>
                  <a:lnTo>
                    <a:pt x="1730" y="561"/>
                  </a:lnTo>
                  <a:lnTo>
                    <a:pt x="1778" y="732"/>
                  </a:lnTo>
                  <a:lnTo>
                    <a:pt x="1803" y="902"/>
                  </a:lnTo>
                  <a:lnTo>
                    <a:pt x="1803" y="902"/>
                  </a:lnTo>
                  <a:lnTo>
                    <a:pt x="1778"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8" y="1535"/>
                  </a:lnTo>
                  <a:lnTo>
                    <a:pt x="147" y="1414"/>
                  </a:lnTo>
                  <a:lnTo>
                    <a:pt x="73" y="1243"/>
                  </a:lnTo>
                  <a:lnTo>
                    <a:pt x="25" y="1073"/>
                  </a:lnTo>
                  <a:lnTo>
                    <a:pt x="0" y="902"/>
                  </a:lnTo>
                  <a:lnTo>
                    <a:pt x="0" y="902"/>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5" name="Shape 419"/>
            <p:cNvSpPr/>
            <p:nvPr/>
          </p:nvSpPr>
          <p:spPr>
            <a:xfrm>
              <a:off x="649925" y="590050"/>
              <a:ext cx="133975" cy="25"/>
            </a:xfrm>
            <a:custGeom>
              <a:avLst/>
              <a:gdLst/>
              <a:ahLst/>
              <a:cxnLst/>
              <a:rect l="0" t="0" r="0" b="0"/>
              <a:pathLst>
                <a:path w="5359" h="1" fill="none" extrusionOk="0">
                  <a:moveTo>
                    <a:pt x="5358" y="0"/>
                  </a:moveTo>
                  <a:lnTo>
                    <a:pt x="0"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 name="Shape 420"/>
            <p:cNvSpPr/>
            <p:nvPr/>
          </p:nvSpPr>
          <p:spPr>
            <a:xfrm>
              <a:off x="649925" y="5346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 name="Shape 421"/>
            <p:cNvSpPr/>
            <p:nvPr/>
          </p:nvSpPr>
          <p:spPr>
            <a:xfrm>
              <a:off x="649925" y="4798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8" name="Shape 422"/>
            <p:cNvSpPr/>
            <p:nvPr/>
          </p:nvSpPr>
          <p:spPr>
            <a:xfrm>
              <a:off x="649925" y="4244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Shape 423"/>
            <p:cNvSpPr/>
            <p:nvPr/>
          </p:nvSpPr>
          <p:spPr>
            <a:xfrm>
              <a:off x="879475" y="274025"/>
              <a:ext cx="45075" cy="45100"/>
            </a:xfrm>
            <a:custGeom>
              <a:avLst/>
              <a:gdLst/>
              <a:ahLst/>
              <a:cxnLst/>
              <a:rect l="0" t="0" r="0" b="0"/>
              <a:pathLst>
                <a:path w="1803" h="1804" fill="none" extrusionOk="0">
                  <a:moveTo>
                    <a:pt x="901" y="1803"/>
                  </a:moveTo>
                  <a:lnTo>
                    <a:pt x="901" y="1803"/>
                  </a:lnTo>
                  <a:lnTo>
                    <a:pt x="731" y="1779"/>
                  </a:lnTo>
                  <a:lnTo>
                    <a:pt x="560" y="1730"/>
                  </a:lnTo>
                  <a:lnTo>
                    <a:pt x="390" y="1657"/>
                  </a:lnTo>
                  <a:lnTo>
                    <a:pt x="268" y="1535"/>
                  </a:lnTo>
                  <a:lnTo>
                    <a:pt x="146" y="1414"/>
                  </a:lnTo>
                  <a:lnTo>
                    <a:pt x="73" y="1243"/>
                  </a:lnTo>
                  <a:lnTo>
                    <a:pt x="25" y="1073"/>
                  </a:lnTo>
                  <a:lnTo>
                    <a:pt x="0" y="902"/>
                  </a:lnTo>
                  <a:lnTo>
                    <a:pt x="0" y="902"/>
                  </a:lnTo>
                  <a:lnTo>
                    <a:pt x="25" y="732"/>
                  </a:lnTo>
                  <a:lnTo>
                    <a:pt x="73" y="561"/>
                  </a:lnTo>
                  <a:lnTo>
                    <a:pt x="146" y="391"/>
                  </a:lnTo>
                  <a:lnTo>
                    <a:pt x="268" y="269"/>
                  </a:lnTo>
                  <a:lnTo>
                    <a:pt x="390" y="147"/>
                  </a:lnTo>
                  <a:lnTo>
                    <a:pt x="560" y="74"/>
                  </a:lnTo>
                  <a:lnTo>
                    <a:pt x="731" y="25"/>
                  </a:lnTo>
                  <a:lnTo>
                    <a:pt x="901" y="1"/>
                  </a:lnTo>
                  <a:lnTo>
                    <a:pt x="901" y="1"/>
                  </a:lnTo>
                  <a:lnTo>
                    <a:pt x="1072" y="25"/>
                  </a:lnTo>
                  <a:lnTo>
                    <a:pt x="1242" y="74"/>
                  </a:lnTo>
                  <a:lnTo>
                    <a:pt x="1413" y="147"/>
                  </a:lnTo>
                  <a:lnTo>
                    <a:pt x="1535" y="269"/>
                  </a:lnTo>
                  <a:lnTo>
                    <a:pt x="1656" y="391"/>
                  </a:lnTo>
                  <a:lnTo>
                    <a:pt x="1729" y="561"/>
                  </a:lnTo>
                  <a:lnTo>
                    <a:pt x="1778" y="732"/>
                  </a:lnTo>
                  <a:lnTo>
                    <a:pt x="1802" y="902"/>
                  </a:lnTo>
                  <a:lnTo>
                    <a:pt x="1802" y="902"/>
                  </a:lnTo>
                  <a:lnTo>
                    <a:pt x="1778" y="1073"/>
                  </a:lnTo>
                  <a:lnTo>
                    <a:pt x="1729" y="1243"/>
                  </a:lnTo>
                  <a:lnTo>
                    <a:pt x="1656" y="1414"/>
                  </a:lnTo>
                  <a:lnTo>
                    <a:pt x="1535" y="1535"/>
                  </a:lnTo>
                  <a:lnTo>
                    <a:pt x="1413" y="1657"/>
                  </a:lnTo>
                  <a:lnTo>
                    <a:pt x="1242" y="1730"/>
                  </a:lnTo>
                  <a:lnTo>
                    <a:pt x="1072" y="1779"/>
                  </a:lnTo>
                  <a:lnTo>
                    <a:pt x="901" y="1803"/>
                  </a:lnTo>
                  <a:lnTo>
                    <a:pt x="901" y="1803"/>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 name="Shape 424"/>
            <p:cNvSpPr/>
            <p:nvPr/>
          </p:nvSpPr>
          <p:spPr>
            <a:xfrm>
              <a:off x="654800" y="244200"/>
              <a:ext cx="25" cy="51175"/>
            </a:xfrm>
            <a:custGeom>
              <a:avLst/>
              <a:gdLst/>
              <a:ahLst/>
              <a:cxnLst/>
              <a:rect l="0" t="0" r="0" b="0"/>
              <a:pathLst>
                <a:path w="1" h="2047" fill="none" extrusionOk="0">
                  <a:moveTo>
                    <a:pt x="0" y="1"/>
                  </a:moveTo>
                  <a:lnTo>
                    <a:pt x="0"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1" name="Shape 425"/>
            <p:cNvSpPr/>
            <p:nvPr/>
          </p:nvSpPr>
          <p:spPr>
            <a:xfrm>
              <a:off x="737600" y="244200"/>
              <a:ext cx="25" cy="51175"/>
            </a:xfrm>
            <a:custGeom>
              <a:avLst/>
              <a:gdLst/>
              <a:ahLst/>
              <a:cxnLst/>
              <a:rect l="0" t="0" r="0" b="0"/>
              <a:pathLst>
                <a:path w="1" h="2047" fill="none" extrusionOk="0">
                  <a:moveTo>
                    <a:pt x="1" y="1"/>
                  </a:moveTo>
                  <a:lnTo>
                    <a:pt x="1"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Shape 426"/>
            <p:cNvSpPr/>
            <p:nvPr/>
          </p:nvSpPr>
          <p:spPr>
            <a:xfrm>
              <a:off x="820400" y="244200"/>
              <a:ext cx="25" cy="51175"/>
            </a:xfrm>
            <a:custGeom>
              <a:avLst/>
              <a:gdLst/>
              <a:ahLst/>
              <a:cxnLst/>
              <a:rect l="0" t="0" r="0" b="0"/>
              <a:pathLst>
                <a:path w="1" h="2047" fill="none" extrusionOk="0">
                  <a:moveTo>
                    <a:pt x="1" y="1"/>
                  </a:moveTo>
                  <a:lnTo>
                    <a:pt x="1"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Shape 427"/>
            <p:cNvSpPr/>
            <p:nvPr/>
          </p:nvSpPr>
          <p:spPr>
            <a:xfrm>
              <a:off x="903225" y="244200"/>
              <a:ext cx="25" cy="51175"/>
            </a:xfrm>
            <a:custGeom>
              <a:avLst/>
              <a:gdLst/>
              <a:ahLst/>
              <a:cxnLst/>
              <a:rect l="0" t="0" r="0" b="0"/>
              <a:pathLst>
                <a:path w="1" h="2047" fill="none" extrusionOk="0">
                  <a:moveTo>
                    <a:pt x="0" y="1"/>
                  </a:moveTo>
                  <a:lnTo>
                    <a:pt x="0"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grpSp>
    </p:spTree>
    <p:extLst>
      <p:ext uri="{BB962C8B-B14F-4D97-AF65-F5344CB8AC3E}">
        <p14:creationId xmlns:p14="http://schemas.microsoft.com/office/powerpoint/2010/main" val="3188492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5C4BA-1119-B749-8299-4282852F15BF}"/>
              </a:ext>
            </a:extLst>
          </p:cNvPr>
          <p:cNvSpPr>
            <a:spLocks noGrp="1"/>
          </p:cNvSpPr>
          <p:nvPr>
            <p:ph type="title"/>
          </p:nvPr>
        </p:nvSpPr>
        <p:spPr>
          <a:xfrm>
            <a:off x="1381250" y="922668"/>
            <a:ext cx="5681031" cy="435600"/>
          </a:xfrm>
        </p:spPr>
        <p:txBody>
          <a:bodyPr/>
          <a:lstStyle/>
          <a:p>
            <a:pPr algn="just"/>
            <a:r>
              <a:rPr lang="en-US" sz="2400" dirty="0"/>
              <a:t>The Facility for Energy Inclusion (FEI)</a:t>
            </a:r>
          </a:p>
        </p:txBody>
      </p:sp>
      <p:sp>
        <p:nvSpPr>
          <p:cNvPr id="3" name="TextBox 2">
            <a:extLst>
              <a:ext uri="{FF2B5EF4-FFF2-40B4-BE49-F238E27FC236}">
                <a16:creationId xmlns:a16="http://schemas.microsoft.com/office/drawing/2014/main" id="{020AFD32-3EBE-FF49-B147-FB347549D6FA}"/>
              </a:ext>
            </a:extLst>
          </p:cNvPr>
          <p:cNvSpPr txBox="1"/>
          <p:nvPr/>
        </p:nvSpPr>
        <p:spPr>
          <a:xfrm>
            <a:off x="844733" y="1683953"/>
            <a:ext cx="7445828" cy="1384995"/>
          </a:xfrm>
          <a:prstGeom prst="rect">
            <a:avLst/>
          </a:prstGeom>
          <a:noFill/>
        </p:spPr>
        <p:txBody>
          <a:bodyPr wrap="square" rtlCol="0">
            <a:spAutoFit/>
          </a:bodyPr>
          <a:lstStyle/>
          <a:p>
            <a:pPr lvl="0" algn="ctr"/>
            <a:r>
              <a:rPr lang="en-US" dirty="0">
                <a:solidFill>
                  <a:schemeClr val="tx1"/>
                </a:solidFill>
              </a:rPr>
              <a:t>FEI is a </a:t>
            </a:r>
            <a:r>
              <a:rPr lang="en-US" b="1" dirty="0">
                <a:solidFill>
                  <a:schemeClr val="tx1"/>
                </a:solidFill>
              </a:rPr>
              <a:t>debt financing platform </a:t>
            </a:r>
            <a:r>
              <a:rPr lang="en-US" dirty="0">
                <a:solidFill>
                  <a:schemeClr val="tx1"/>
                </a:solidFill>
              </a:rPr>
              <a:t>that targets segments of the sector that remain underserved – small scale energy projects and products that fall below traditional minimum investments thresholds and are unfamiliar to investors. The Facility supports </a:t>
            </a:r>
            <a:r>
              <a:rPr lang="en-US" b="1" dirty="0">
                <a:solidFill>
                  <a:schemeClr val="tx1"/>
                </a:solidFill>
              </a:rPr>
              <a:t>the emergence of the next generation of African energy service companies and projects</a:t>
            </a:r>
            <a:r>
              <a:rPr lang="en-US" dirty="0">
                <a:solidFill>
                  <a:schemeClr val="tx1"/>
                </a:solidFill>
              </a:rPr>
              <a:t>.</a:t>
            </a:r>
            <a:r>
              <a:rPr lang="fr-CI" dirty="0">
                <a:solidFill>
                  <a:schemeClr val="tx1"/>
                </a:solidFill>
              </a:rPr>
              <a:t> </a:t>
            </a:r>
          </a:p>
          <a:p>
            <a:pPr lvl="0" algn="ctr"/>
            <a:r>
              <a:rPr lang="en-US" b="1" dirty="0">
                <a:solidFill>
                  <a:schemeClr val="tx1"/>
                </a:solidFill>
              </a:rPr>
              <a:t>FEI </a:t>
            </a:r>
            <a:r>
              <a:rPr lang="en-US" dirty="0">
                <a:solidFill>
                  <a:schemeClr val="tx1"/>
                </a:solidFill>
              </a:rPr>
              <a:t>operates through </a:t>
            </a:r>
            <a:r>
              <a:rPr lang="en-US" b="1" dirty="0">
                <a:solidFill>
                  <a:schemeClr val="tx1"/>
                </a:solidFill>
              </a:rPr>
              <a:t>two windows</a:t>
            </a:r>
            <a:r>
              <a:rPr lang="en-US" dirty="0">
                <a:solidFill>
                  <a:schemeClr val="tx1"/>
                </a:solidFill>
              </a:rPr>
              <a:t>: </a:t>
            </a:r>
            <a:endParaRPr lang="fr-FR" dirty="0">
              <a:solidFill>
                <a:schemeClr val="tx1"/>
              </a:solidFill>
            </a:endParaRPr>
          </a:p>
          <a:p>
            <a:endParaRPr lang="en-US" dirty="0"/>
          </a:p>
        </p:txBody>
      </p:sp>
      <p:sp>
        <p:nvSpPr>
          <p:cNvPr id="5" name="TextBox 4">
            <a:extLst>
              <a:ext uri="{FF2B5EF4-FFF2-40B4-BE49-F238E27FC236}">
                <a16:creationId xmlns:a16="http://schemas.microsoft.com/office/drawing/2014/main" id="{70DF8403-FCDF-5D46-84A7-6C23CBBD5352}"/>
              </a:ext>
            </a:extLst>
          </p:cNvPr>
          <p:cNvSpPr txBox="1"/>
          <p:nvPr/>
        </p:nvSpPr>
        <p:spPr>
          <a:xfrm>
            <a:off x="1580607" y="3165264"/>
            <a:ext cx="2682240" cy="1231106"/>
          </a:xfrm>
          <a:prstGeom prst="rect">
            <a:avLst/>
          </a:prstGeom>
          <a:solidFill>
            <a:srgbClr val="FFCE00"/>
          </a:solidFill>
        </p:spPr>
        <p:txBody>
          <a:bodyPr wrap="square" lIns="182880" tIns="182880" rIns="182880" bIns="182880" rtlCol="0">
            <a:spAutoFit/>
          </a:bodyPr>
          <a:lstStyle/>
          <a:p>
            <a:pPr algn="ctr"/>
            <a:r>
              <a:rPr lang="en-US" b="1" dirty="0"/>
              <a:t>On-grid:</a:t>
            </a:r>
          </a:p>
          <a:p>
            <a:pPr algn="ctr"/>
            <a:r>
              <a:rPr lang="en-US" dirty="0">
                <a:solidFill>
                  <a:schemeClr val="tx1"/>
                </a:solidFill>
              </a:rPr>
              <a:t>Small scale IPP’s, mini-grids and captive power projects</a:t>
            </a:r>
          </a:p>
          <a:p>
            <a:endParaRPr lang="fr-FR" dirty="0">
              <a:solidFill>
                <a:schemeClr val="tx1"/>
              </a:solidFill>
            </a:endParaRPr>
          </a:p>
        </p:txBody>
      </p:sp>
      <p:sp>
        <p:nvSpPr>
          <p:cNvPr id="6" name="TextBox 5">
            <a:extLst>
              <a:ext uri="{FF2B5EF4-FFF2-40B4-BE49-F238E27FC236}">
                <a16:creationId xmlns:a16="http://schemas.microsoft.com/office/drawing/2014/main" id="{92305BDF-2AE9-4247-852E-0597BB415D06}"/>
              </a:ext>
            </a:extLst>
          </p:cNvPr>
          <p:cNvSpPr txBox="1"/>
          <p:nvPr/>
        </p:nvSpPr>
        <p:spPr>
          <a:xfrm>
            <a:off x="4872447" y="3165264"/>
            <a:ext cx="2682240" cy="1231106"/>
          </a:xfrm>
          <a:prstGeom prst="rect">
            <a:avLst/>
          </a:prstGeom>
          <a:solidFill>
            <a:srgbClr val="FFCE00"/>
          </a:solidFill>
        </p:spPr>
        <p:txBody>
          <a:bodyPr wrap="square" lIns="182880" tIns="182880" rIns="182880" bIns="182880" rtlCol="0">
            <a:spAutoFit/>
          </a:bodyPr>
          <a:lstStyle/>
          <a:p>
            <a:pPr algn="ctr"/>
            <a:r>
              <a:rPr lang="en-US" b="1" dirty="0"/>
              <a:t>Off-grid:</a:t>
            </a:r>
          </a:p>
          <a:p>
            <a:pPr lvl="0" algn="ctr"/>
            <a:r>
              <a:rPr lang="en-US" dirty="0">
                <a:solidFill>
                  <a:schemeClr val="tx1"/>
                </a:solidFill>
              </a:rPr>
              <a:t>PAYGO and other energy access product distribution companies</a:t>
            </a:r>
            <a:endParaRPr lang="fr-FR" dirty="0">
              <a:solidFill>
                <a:schemeClr val="tx1"/>
              </a:solidFill>
            </a:endParaRPr>
          </a:p>
        </p:txBody>
      </p:sp>
    </p:spTree>
    <p:extLst>
      <p:ext uri="{BB962C8B-B14F-4D97-AF65-F5344CB8AC3E}">
        <p14:creationId xmlns:p14="http://schemas.microsoft.com/office/powerpoint/2010/main" val="15383757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5C4BA-1119-B749-8299-4282852F15BF}"/>
              </a:ext>
            </a:extLst>
          </p:cNvPr>
          <p:cNvSpPr>
            <a:spLocks noGrp="1"/>
          </p:cNvSpPr>
          <p:nvPr>
            <p:ph type="title"/>
          </p:nvPr>
        </p:nvSpPr>
        <p:spPr>
          <a:xfrm>
            <a:off x="1381250" y="922668"/>
            <a:ext cx="7587652" cy="435600"/>
          </a:xfrm>
        </p:spPr>
        <p:txBody>
          <a:bodyPr/>
          <a:lstStyle/>
          <a:p>
            <a:r>
              <a:rPr lang="en-US" sz="2400" dirty="0"/>
              <a:t>Sustainable Energy Fund for Africa (SEFA)</a:t>
            </a:r>
          </a:p>
        </p:txBody>
      </p:sp>
      <p:graphicFrame>
        <p:nvGraphicFramePr>
          <p:cNvPr id="5" name="Diagrama 10"/>
          <p:cNvGraphicFramePr/>
          <p:nvPr>
            <p:extLst>
              <p:ext uri="{D42A27DB-BD31-4B8C-83A1-F6EECF244321}">
                <p14:modId xmlns:p14="http://schemas.microsoft.com/office/powerpoint/2010/main" val="1101793603"/>
              </p:ext>
            </p:extLst>
          </p:nvPr>
        </p:nvGraphicFramePr>
        <p:xfrm>
          <a:off x="1054531" y="2416780"/>
          <a:ext cx="6605159" cy="27267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p:cNvSpPr/>
          <p:nvPr/>
        </p:nvSpPr>
        <p:spPr>
          <a:xfrm>
            <a:off x="1213027" y="1594502"/>
            <a:ext cx="6916367" cy="461665"/>
          </a:xfrm>
          <a:prstGeom prst="rect">
            <a:avLst/>
          </a:prstGeom>
          <a:noFill/>
        </p:spPr>
        <p:txBody>
          <a:bodyPr wrap="square">
            <a:spAutoFit/>
          </a:bodyPr>
          <a:lstStyle/>
          <a:p>
            <a:pPr algn="just"/>
            <a:r>
              <a:rPr lang="en-US" sz="1200" b="1" dirty="0">
                <a:ea typeface="Verdana" pitchFamily="34" charset="0"/>
                <a:cs typeface="Estrangelo Edessa" pitchFamily="66" charset="0"/>
              </a:rPr>
              <a:t>SEFA is designed to scale-up </a:t>
            </a:r>
            <a:r>
              <a:rPr lang="en-US" sz="1200" b="1" dirty="0" err="1">
                <a:ea typeface="Verdana" pitchFamily="34" charset="0"/>
                <a:cs typeface="Estrangelo Edessa" pitchFamily="66" charset="0"/>
              </a:rPr>
              <a:t>AfDB’s</a:t>
            </a:r>
            <a:r>
              <a:rPr lang="en-US" sz="1200" b="1" dirty="0">
                <a:ea typeface="Verdana" pitchFamily="34" charset="0"/>
                <a:cs typeface="Estrangelo Edessa" pitchFamily="66" charset="0"/>
              </a:rPr>
              <a:t> involvement in small and medium sized private-sector driven RE/EE projects, as a means of stimulating economic growth and job creation.</a:t>
            </a:r>
          </a:p>
        </p:txBody>
      </p:sp>
      <p:cxnSp>
        <p:nvCxnSpPr>
          <p:cNvPr id="11" name="Straight Connector 10">
            <a:extLst>
              <a:ext uri="{FF2B5EF4-FFF2-40B4-BE49-F238E27FC236}">
                <a16:creationId xmlns:a16="http://schemas.microsoft.com/office/drawing/2014/main" id="{3F205AA6-DC55-D947-A167-865F9FFFBB3F}"/>
              </a:ext>
            </a:extLst>
          </p:cNvPr>
          <p:cNvCxnSpPr/>
          <p:nvPr/>
        </p:nvCxnSpPr>
        <p:spPr>
          <a:xfrm>
            <a:off x="1213027" y="3206496"/>
            <a:ext cx="6446663" cy="0"/>
          </a:xfrm>
          <a:prstGeom prst="line">
            <a:avLst/>
          </a:prstGeom>
          <a:ln>
            <a:solidFill>
              <a:srgbClr val="8E8E8E"/>
            </a:solidFill>
          </a:ln>
        </p:spPr>
        <p:style>
          <a:lnRef idx="1">
            <a:schemeClr val="accent2"/>
          </a:lnRef>
          <a:fillRef idx="0">
            <a:schemeClr val="accent2"/>
          </a:fillRef>
          <a:effectRef idx="0">
            <a:schemeClr val="accent2"/>
          </a:effectRef>
          <a:fontRef idx="minor">
            <a:schemeClr val="tx1"/>
          </a:fontRef>
        </p:style>
      </p:cxnSp>
      <p:cxnSp>
        <p:nvCxnSpPr>
          <p:cNvPr id="12" name="Straight Connector 11">
            <a:extLst>
              <a:ext uri="{FF2B5EF4-FFF2-40B4-BE49-F238E27FC236}">
                <a16:creationId xmlns:a16="http://schemas.microsoft.com/office/drawing/2014/main" id="{2E0788BB-9836-7740-9B26-85E9E4E8F138}"/>
              </a:ext>
            </a:extLst>
          </p:cNvPr>
          <p:cNvCxnSpPr/>
          <p:nvPr/>
        </p:nvCxnSpPr>
        <p:spPr>
          <a:xfrm>
            <a:off x="1213027" y="3651504"/>
            <a:ext cx="6446663" cy="0"/>
          </a:xfrm>
          <a:prstGeom prst="line">
            <a:avLst/>
          </a:prstGeom>
          <a:ln>
            <a:solidFill>
              <a:srgbClr val="8E8E8E"/>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2F0D5520-5481-5B4B-8486-3B01D2FBD8F1}"/>
              </a:ext>
            </a:extLst>
          </p:cNvPr>
          <p:cNvCxnSpPr/>
          <p:nvPr/>
        </p:nvCxnSpPr>
        <p:spPr>
          <a:xfrm>
            <a:off x="1213027" y="4114989"/>
            <a:ext cx="6446663" cy="0"/>
          </a:xfrm>
          <a:prstGeom prst="line">
            <a:avLst/>
          </a:prstGeom>
          <a:ln>
            <a:solidFill>
              <a:srgbClr val="8E8E8E"/>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7912048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Shape 110"/>
          <p:cNvSpPr txBox="1">
            <a:spLocks noGrp="1"/>
          </p:cNvSpPr>
          <p:nvPr>
            <p:ph type="title"/>
          </p:nvPr>
        </p:nvSpPr>
        <p:spPr>
          <a:xfrm>
            <a:off x="1381250" y="919839"/>
            <a:ext cx="3878400" cy="435600"/>
          </a:xfrm>
          <a:prstGeom prst="rect">
            <a:avLst/>
          </a:prstGeom>
          <a:noFill/>
        </p:spPr>
        <p:txBody>
          <a:bodyPr spcFirstLastPara="1" wrap="square" lIns="91425" tIns="91425" rIns="91425" bIns="91425" anchor="ctr" anchorCtr="0">
            <a:noAutofit/>
          </a:bodyPr>
          <a:lstStyle/>
          <a:p>
            <a:pPr marL="0" lvl="0" indent="0">
              <a:spcBef>
                <a:spcPts val="0"/>
              </a:spcBef>
              <a:spcAft>
                <a:spcPts val="0"/>
              </a:spcAft>
              <a:buNone/>
            </a:pPr>
            <a:r>
              <a:rPr lang="en-US" dirty="0"/>
              <a:t>Presentation </a:t>
            </a:r>
            <a:r>
              <a:rPr lang="en-US" dirty="0">
                <a:highlight>
                  <a:srgbClr val="FFCD00"/>
                </a:highlight>
              </a:rPr>
              <a:t>outline</a:t>
            </a:r>
            <a:endParaRPr dirty="0">
              <a:highlight>
                <a:srgbClr val="FFCD00"/>
              </a:highlight>
            </a:endParaRPr>
          </a:p>
        </p:txBody>
      </p:sp>
      <p:sp>
        <p:nvSpPr>
          <p:cNvPr id="111" name="Shape 111"/>
          <p:cNvSpPr txBox="1">
            <a:spLocks noGrp="1"/>
          </p:cNvSpPr>
          <p:nvPr>
            <p:ph type="body" idx="1"/>
          </p:nvPr>
        </p:nvSpPr>
        <p:spPr>
          <a:xfrm>
            <a:off x="1381250" y="1616470"/>
            <a:ext cx="6809700" cy="3112200"/>
          </a:xfrm>
          <a:prstGeom prst="rect">
            <a:avLst/>
          </a:prstGeom>
        </p:spPr>
        <p:txBody>
          <a:bodyPr spcFirstLastPara="1" wrap="square" lIns="91425" tIns="91425" rIns="91425" bIns="91425" anchor="t" anchorCtr="0">
            <a:noAutofit/>
          </a:bodyPr>
          <a:lstStyle/>
          <a:p>
            <a:pPr marL="457200" lvl="0" indent="-381000" rtl="0">
              <a:spcBef>
                <a:spcPts val="600"/>
              </a:spcBef>
              <a:spcAft>
                <a:spcPts val="0"/>
              </a:spcAft>
              <a:buSzPts val="2400"/>
              <a:buChar char="◉"/>
            </a:pPr>
            <a:r>
              <a:rPr lang="fr-FR" sz="2000" dirty="0"/>
              <a:t>The </a:t>
            </a:r>
            <a:r>
              <a:rPr lang="fr-FR" sz="2000" dirty="0" err="1"/>
              <a:t>Bank’s</a:t>
            </a:r>
            <a:r>
              <a:rPr lang="fr-FR" sz="2000" dirty="0"/>
              <a:t> </a:t>
            </a:r>
            <a:r>
              <a:rPr lang="fr-FR" sz="2000" dirty="0" err="1"/>
              <a:t>Strategy</a:t>
            </a:r>
            <a:r>
              <a:rPr lang="fr-FR" sz="2000" dirty="0"/>
              <a:t> for the New Deal on </a:t>
            </a:r>
            <a:r>
              <a:rPr lang="fr-FR" sz="2000" dirty="0" err="1"/>
              <a:t>Energy</a:t>
            </a:r>
            <a:r>
              <a:rPr lang="fr-FR" sz="2000" dirty="0"/>
              <a:t> for </a:t>
            </a:r>
            <a:r>
              <a:rPr lang="fr-FR" sz="2000" dirty="0" err="1"/>
              <a:t>Africa</a:t>
            </a:r>
            <a:endParaRPr sz="2000" dirty="0"/>
          </a:p>
          <a:p>
            <a:pPr marL="457200" lvl="0" indent="-381000" rtl="0">
              <a:spcBef>
                <a:spcPts val="0"/>
              </a:spcBef>
              <a:spcAft>
                <a:spcPts val="0"/>
              </a:spcAft>
              <a:buSzPts val="2400"/>
              <a:buChar char="◉"/>
            </a:pPr>
            <a:r>
              <a:rPr lang="en-US" sz="2000" dirty="0"/>
              <a:t>Africa’s renewable energy potential and operations supported by the African Development Bank</a:t>
            </a:r>
          </a:p>
          <a:p>
            <a:pPr lvl="0">
              <a:spcBef>
                <a:spcPts val="0"/>
              </a:spcBef>
            </a:pPr>
            <a:r>
              <a:rPr lang="en-US" sz="2000" dirty="0"/>
              <a:t>African Development </a:t>
            </a:r>
            <a:r>
              <a:rPr lang="en-US" sz="2000" smtClean="0"/>
              <a:t>Bank special </a:t>
            </a:r>
            <a:r>
              <a:rPr lang="en-US" sz="2000" dirty="0"/>
              <a:t>instruments and initiatives in renewable energy</a:t>
            </a:r>
          </a:p>
          <a:p>
            <a:pPr lvl="0">
              <a:spcBef>
                <a:spcPts val="0"/>
              </a:spcBef>
            </a:pPr>
            <a:r>
              <a:rPr lang="en-US" sz="2000" b="1" dirty="0"/>
              <a:t>2018 Outlook: renewable energy projects and initiatives </a:t>
            </a:r>
          </a:p>
          <a:p>
            <a:pPr marL="0" lvl="0" indent="0">
              <a:spcBef>
                <a:spcPts val="600"/>
              </a:spcBef>
              <a:spcAft>
                <a:spcPts val="0"/>
              </a:spcAft>
              <a:buNone/>
            </a:pPr>
            <a:endParaRPr sz="2000" dirty="0"/>
          </a:p>
        </p:txBody>
      </p:sp>
      <p:grpSp>
        <p:nvGrpSpPr>
          <p:cNvPr id="9" name="Shape 413"/>
          <p:cNvGrpSpPr/>
          <p:nvPr/>
        </p:nvGrpSpPr>
        <p:grpSpPr>
          <a:xfrm>
            <a:off x="895890" y="982629"/>
            <a:ext cx="217750" cy="284040"/>
            <a:chOff x="590250" y="244200"/>
            <a:chExt cx="407975" cy="532175"/>
          </a:xfrm>
        </p:grpSpPr>
        <p:sp>
          <p:nvSpPr>
            <p:cNvPr id="10" name="Shape 414"/>
            <p:cNvSpPr/>
            <p:nvPr/>
          </p:nvSpPr>
          <p:spPr>
            <a:xfrm>
              <a:off x="623125" y="313625"/>
              <a:ext cx="375100" cy="462750"/>
            </a:xfrm>
            <a:custGeom>
              <a:avLst/>
              <a:gdLst/>
              <a:ahLst/>
              <a:cxnLst/>
              <a:rect l="0" t="0" r="0" b="0"/>
              <a:pathLst>
                <a:path w="15004" h="18510" fill="none" extrusionOk="0">
                  <a:moveTo>
                    <a:pt x="1" y="17536"/>
                  </a:moveTo>
                  <a:lnTo>
                    <a:pt x="1" y="17536"/>
                  </a:lnTo>
                  <a:lnTo>
                    <a:pt x="1" y="17536"/>
                  </a:lnTo>
                  <a:lnTo>
                    <a:pt x="25" y="17682"/>
                  </a:lnTo>
                  <a:lnTo>
                    <a:pt x="49" y="17852"/>
                  </a:lnTo>
                  <a:lnTo>
                    <a:pt x="123" y="18023"/>
                  </a:lnTo>
                  <a:lnTo>
                    <a:pt x="220" y="18193"/>
                  </a:lnTo>
                  <a:lnTo>
                    <a:pt x="293" y="18291"/>
                  </a:lnTo>
                  <a:lnTo>
                    <a:pt x="390" y="18364"/>
                  </a:lnTo>
                  <a:lnTo>
                    <a:pt x="488" y="18412"/>
                  </a:lnTo>
                  <a:lnTo>
                    <a:pt x="610" y="18461"/>
                  </a:lnTo>
                  <a:lnTo>
                    <a:pt x="756" y="18510"/>
                  </a:lnTo>
                  <a:lnTo>
                    <a:pt x="926" y="18510"/>
                  </a:lnTo>
                  <a:lnTo>
                    <a:pt x="14468" y="18510"/>
                  </a:lnTo>
                  <a:lnTo>
                    <a:pt x="14468" y="18510"/>
                  </a:lnTo>
                  <a:lnTo>
                    <a:pt x="14541" y="18510"/>
                  </a:lnTo>
                  <a:lnTo>
                    <a:pt x="14614" y="18485"/>
                  </a:lnTo>
                  <a:lnTo>
                    <a:pt x="14736" y="18412"/>
                  </a:lnTo>
                  <a:lnTo>
                    <a:pt x="14833" y="18291"/>
                  </a:lnTo>
                  <a:lnTo>
                    <a:pt x="14906" y="18144"/>
                  </a:lnTo>
                  <a:lnTo>
                    <a:pt x="14955" y="17974"/>
                  </a:lnTo>
                  <a:lnTo>
                    <a:pt x="14979" y="17779"/>
                  </a:lnTo>
                  <a:lnTo>
                    <a:pt x="15003" y="17438"/>
                  </a:lnTo>
                  <a:lnTo>
                    <a:pt x="15003" y="487"/>
                  </a:lnTo>
                  <a:lnTo>
                    <a:pt x="15003" y="487"/>
                  </a:lnTo>
                  <a:lnTo>
                    <a:pt x="15003" y="341"/>
                  </a:lnTo>
                  <a:lnTo>
                    <a:pt x="14979" y="219"/>
                  </a:lnTo>
                  <a:lnTo>
                    <a:pt x="14955" y="146"/>
                  </a:lnTo>
                  <a:lnTo>
                    <a:pt x="14906" y="73"/>
                  </a:lnTo>
                  <a:lnTo>
                    <a:pt x="14833" y="49"/>
                  </a:lnTo>
                  <a:lnTo>
                    <a:pt x="14736" y="24"/>
                  </a:lnTo>
                  <a:lnTo>
                    <a:pt x="14468"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 name="Shape 415"/>
            <p:cNvSpPr/>
            <p:nvPr/>
          </p:nvSpPr>
          <p:spPr>
            <a:xfrm>
              <a:off x="590250" y="269775"/>
              <a:ext cx="377525" cy="462775"/>
            </a:xfrm>
            <a:custGeom>
              <a:avLst/>
              <a:gdLst/>
              <a:ahLst/>
              <a:cxnLst/>
              <a:rect l="0" t="0" r="0" b="0"/>
              <a:pathLst>
                <a:path w="15101" h="18511" fill="none" extrusionOk="0">
                  <a:moveTo>
                    <a:pt x="14321" y="0"/>
                  </a:moveTo>
                  <a:lnTo>
                    <a:pt x="780" y="0"/>
                  </a:lnTo>
                  <a:lnTo>
                    <a:pt x="780" y="0"/>
                  </a:lnTo>
                  <a:lnTo>
                    <a:pt x="634" y="25"/>
                  </a:lnTo>
                  <a:lnTo>
                    <a:pt x="488" y="74"/>
                  </a:lnTo>
                  <a:lnTo>
                    <a:pt x="342" y="122"/>
                  </a:lnTo>
                  <a:lnTo>
                    <a:pt x="220" y="220"/>
                  </a:lnTo>
                  <a:lnTo>
                    <a:pt x="122" y="341"/>
                  </a:lnTo>
                  <a:lnTo>
                    <a:pt x="74" y="488"/>
                  </a:lnTo>
                  <a:lnTo>
                    <a:pt x="25" y="634"/>
                  </a:lnTo>
                  <a:lnTo>
                    <a:pt x="1" y="780"/>
                  </a:lnTo>
                  <a:lnTo>
                    <a:pt x="1" y="17731"/>
                  </a:lnTo>
                  <a:lnTo>
                    <a:pt x="1" y="17731"/>
                  </a:lnTo>
                  <a:lnTo>
                    <a:pt x="25" y="17877"/>
                  </a:lnTo>
                  <a:lnTo>
                    <a:pt x="74" y="18023"/>
                  </a:lnTo>
                  <a:lnTo>
                    <a:pt x="122" y="18169"/>
                  </a:lnTo>
                  <a:lnTo>
                    <a:pt x="220" y="18291"/>
                  </a:lnTo>
                  <a:lnTo>
                    <a:pt x="342" y="18388"/>
                  </a:lnTo>
                  <a:lnTo>
                    <a:pt x="488" y="18437"/>
                  </a:lnTo>
                  <a:lnTo>
                    <a:pt x="634" y="18486"/>
                  </a:lnTo>
                  <a:lnTo>
                    <a:pt x="780" y="18510"/>
                  </a:lnTo>
                  <a:lnTo>
                    <a:pt x="14321" y="18510"/>
                  </a:lnTo>
                  <a:lnTo>
                    <a:pt x="14321" y="18510"/>
                  </a:lnTo>
                  <a:lnTo>
                    <a:pt x="14467" y="18486"/>
                  </a:lnTo>
                  <a:lnTo>
                    <a:pt x="14614" y="18437"/>
                  </a:lnTo>
                  <a:lnTo>
                    <a:pt x="14760" y="18388"/>
                  </a:lnTo>
                  <a:lnTo>
                    <a:pt x="14881" y="18291"/>
                  </a:lnTo>
                  <a:lnTo>
                    <a:pt x="14979" y="18169"/>
                  </a:lnTo>
                  <a:lnTo>
                    <a:pt x="15028" y="18023"/>
                  </a:lnTo>
                  <a:lnTo>
                    <a:pt x="15076" y="17877"/>
                  </a:lnTo>
                  <a:lnTo>
                    <a:pt x="15101" y="17731"/>
                  </a:lnTo>
                  <a:lnTo>
                    <a:pt x="15101" y="780"/>
                  </a:lnTo>
                  <a:lnTo>
                    <a:pt x="15101" y="780"/>
                  </a:lnTo>
                  <a:lnTo>
                    <a:pt x="15076" y="634"/>
                  </a:lnTo>
                  <a:lnTo>
                    <a:pt x="15028" y="488"/>
                  </a:lnTo>
                  <a:lnTo>
                    <a:pt x="14979" y="341"/>
                  </a:lnTo>
                  <a:lnTo>
                    <a:pt x="14881" y="220"/>
                  </a:lnTo>
                  <a:lnTo>
                    <a:pt x="14760" y="122"/>
                  </a:lnTo>
                  <a:lnTo>
                    <a:pt x="14614" y="74"/>
                  </a:lnTo>
                  <a:lnTo>
                    <a:pt x="14467" y="25"/>
                  </a:lnTo>
                  <a:lnTo>
                    <a:pt x="14321" y="0"/>
                  </a:lnTo>
                  <a:lnTo>
                    <a:pt x="14321"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2" name="Shape 416"/>
            <p:cNvSpPr/>
            <p:nvPr/>
          </p:nvSpPr>
          <p:spPr>
            <a:xfrm>
              <a:off x="796650" y="274025"/>
              <a:ext cx="45100" cy="45100"/>
            </a:xfrm>
            <a:custGeom>
              <a:avLst/>
              <a:gdLst/>
              <a:ahLst/>
              <a:cxnLst/>
              <a:rect l="0" t="0" r="0" b="0"/>
              <a:pathLst>
                <a:path w="1804" h="1804" fill="none" extrusionOk="0">
                  <a:moveTo>
                    <a:pt x="902" y="1"/>
                  </a:moveTo>
                  <a:lnTo>
                    <a:pt x="902" y="1"/>
                  </a:lnTo>
                  <a:lnTo>
                    <a:pt x="1073" y="25"/>
                  </a:lnTo>
                  <a:lnTo>
                    <a:pt x="1243" y="74"/>
                  </a:lnTo>
                  <a:lnTo>
                    <a:pt x="1414"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4" y="1657"/>
                  </a:lnTo>
                  <a:lnTo>
                    <a:pt x="1243" y="1730"/>
                  </a:lnTo>
                  <a:lnTo>
                    <a:pt x="1073" y="1779"/>
                  </a:lnTo>
                  <a:lnTo>
                    <a:pt x="902" y="1803"/>
                  </a:lnTo>
                  <a:lnTo>
                    <a:pt x="902" y="1803"/>
                  </a:lnTo>
                  <a:lnTo>
                    <a:pt x="732" y="1779"/>
                  </a:lnTo>
                  <a:lnTo>
                    <a:pt x="561" y="1730"/>
                  </a:lnTo>
                  <a:lnTo>
                    <a:pt x="391"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1" y="147"/>
                  </a:lnTo>
                  <a:lnTo>
                    <a:pt x="561" y="74"/>
                  </a:lnTo>
                  <a:lnTo>
                    <a:pt x="732" y="25"/>
                  </a:lnTo>
                  <a:lnTo>
                    <a:pt x="902" y="1"/>
                  </a:lnTo>
                  <a:lnTo>
                    <a:pt x="902"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 name="Shape 417"/>
            <p:cNvSpPr/>
            <p:nvPr/>
          </p:nvSpPr>
          <p:spPr>
            <a:xfrm>
              <a:off x="713850" y="274025"/>
              <a:ext cx="45075" cy="45100"/>
            </a:xfrm>
            <a:custGeom>
              <a:avLst/>
              <a:gdLst/>
              <a:ahLst/>
              <a:cxnLst/>
              <a:rect l="0" t="0" r="0" b="0"/>
              <a:pathLst>
                <a:path w="1803" h="1804" fill="none" extrusionOk="0">
                  <a:moveTo>
                    <a:pt x="902" y="1"/>
                  </a:moveTo>
                  <a:lnTo>
                    <a:pt x="902" y="1"/>
                  </a:lnTo>
                  <a:lnTo>
                    <a:pt x="1072" y="25"/>
                  </a:lnTo>
                  <a:lnTo>
                    <a:pt x="1243" y="74"/>
                  </a:lnTo>
                  <a:lnTo>
                    <a:pt x="1413"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0" y="147"/>
                  </a:lnTo>
                  <a:lnTo>
                    <a:pt x="561" y="74"/>
                  </a:lnTo>
                  <a:lnTo>
                    <a:pt x="731" y="25"/>
                  </a:lnTo>
                  <a:lnTo>
                    <a:pt x="902" y="1"/>
                  </a:lnTo>
                  <a:lnTo>
                    <a:pt x="902"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 name="Shape 418"/>
            <p:cNvSpPr/>
            <p:nvPr/>
          </p:nvSpPr>
          <p:spPr>
            <a:xfrm>
              <a:off x="631050" y="274025"/>
              <a:ext cx="45075" cy="45100"/>
            </a:xfrm>
            <a:custGeom>
              <a:avLst/>
              <a:gdLst/>
              <a:ahLst/>
              <a:cxnLst/>
              <a:rect l="0" t="0" r="0" b="0"/>
              <a:pathLst>
                <a:path w="1803" h="1804" fill="none" extrusionOk="0">
                  <a:moveTo>
                    <a:pt x="0" y="902"/>
                  </a:moveTo>
                  <a:lnTo>
                    <a:pt x="0" y="902"/>
                  </a:lnTo>
                  <a:lnTo>
                    <a:pt x="25" y="732"/>
                  </a:lnTo>
                  <a:lnTo>
                    <a:pt x="73" y="561"/>
                  </a:lnTo>
                  <a:lnTo>
                    <a:pt x="147" y="391"/>
                  </a:lnTo>
                  <a:lnTo>
                    <a:pt x="268" y="269"/>
                  </a:lnTo>
                  <a:lnTo>
                    <a:pt x="390" y="147"/>
                  </a:lnTo>
                  <a:lnTo>
                    <a:pt x="561" y="74"/>
                  </a:lnTo>
                  <a:lnTo>
                    <a:pt x="731" y="25"/>
                  </a:lnTo>
                  <a:lnTo>
                    <a:pt x="902" y="1"/>
                  </a:lnTo>
                  <a:lnTo>
                    <a:pt x="902" y="1"/>
                  </a:lnTo>
                  <a:lnTo>
                    <a:pt x="1072" y="25"/>
                  </a:lnTo>
                  <a:lnTo>
                    <a:pt x="1243" y="74"/>
                  </a:lnTo>
                  <a:lnTo>
                    <a:pt x="1413" y="147"/>
                  </a:lnTo>
                  <a:lnTo>
                    <a:pt x="1535" y="269"/>
                  </a:lnTo>
                  <a:lnTo>
                    <a:pt x="1657" y="391"/>
                  </a:lnTo>
                  <a:lnTo>
                    <a:pt x="1730" y="561"/>
                  </a:lnTo>
                  <a:lnTo>
                    <a:pt x="1778" y="732"/>
                  </a:lnTo>
                  <a:lnTo>
                    <a:pt x="1803" y="902"/>
                  </a:lnTo>
                  <a:lnTo>
                    <a:pt x="1803" y="902"/>
                  </a:lnTo>
                  <a:lnTo>
                    <a:pt x="1778"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8" y="1535"/>
                  </a:lnTo>
                  <a:lnTo>
                    <a:pt x="147" y="1414"/>
                  </a:lnTo>
                  <a:lnTo>
                    <a:pt x="73" y="1243"/>
                  </a:lnTo>
                  <a:lnTo>
                    <a:pt x="25" y="1073"/>
                  </a:lnTo>
                  <a:lnTo>
                    <a:pt x="0" y="902"/>
                  </a:lnTo>
                  <a:lnTo>
                    <a:pt x="0" y="902"/>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5" name="Shape 419"/>
            <p:cNvSpPr/>
            <p:nvPr/>
          </p:nvSpPr>
          <p:spPr>
            <a:xfrm>
              <a:off x="649925" y="590050"/>
              <a:ext cx="133975" cy="25"/>
            </a:xfrm>
            <a:custGeom>
              <a:avLst/>
              <a:gdLst/>
              <a:ahLst/>
              <a:cxnLst/>
              <a:rect l="0" t="0" r="0" b="0"/>
              <a:pathLst>
                <a:path w="5359" h="1" fill="none" extrusionOk="0">
                  <a:moveTo>
                    <a:pt x="5358" y="0"/>
                  </a:moveTo>
                  <a:lnTo>
                    <a:pt x="0"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 name="Shape 420"/>
            <p:cNvSpPr/>
            <p:nvPr/>
          </p:nvSpPr>
          <p:spPr>
            <a:xfrm>
              <a:off x="649925" y="5346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 name="Shape 421"/>
            <p:cNvSpPr/>
            <p:nvPr/>
          </p:nvSpPr>
          <p:spPr>
            <a:xfrm>
              <a:off x="649925" y="4798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8" name="Shape 422"/>
            <p:cNvSpPr/>
            <p:nvPr/>
          </p:nvSpPr>
          <p:spPr>
            <a:xfrm>
              <a:off x="649925" y="4244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Shape 423"/>
            <p:cNvSpPr/>
            <p:nvPr/>
          </p:nvSpPr>
          <p:spPr>
            <a:xfrm>
              <a:off x="879475" y="274025"/>
              <a:ext cx="45075" cy="45100"/>
            </a:xfrm>
            <a:custGeom>
              <a:avLst/>
              <a:gdLst/>
              <a:ahLst/>
              <a:cxnLst/>
              <a:rect l="0" t="0" r="0" b="0"/>
              <a:pathLst>
                <a:path w="1803" h="1804" fill="none" extrusionOk="0">
                  <a:moveTo>
                    <a:pt x="901" y="1803"/>
                  </a:moveTo>
                  <a:lnTo>
                    <a:pt x="901" y="1803"/>
                  </a:lnTo>
                  <a:lnTo>
                    <a:pt x="731" y="1779"/>
                  </a:lnTo>
                  <a:lnTo>
                    <a:pt x="560" y="1730"/>
                  </a:lnTo>
                  <a:lnTo>
                    <a:pt x="390" y="1657"/>
                  </a:lnTo>
                  <a:lnTo>
                    <a:pt x="268" y="1535"/>
                  </a:lnTo>
                  <a:lnTo>
                    <a:pt x="146" y="1414"/>
                  </a:lnTo>
                  <a:lnTo>
                    <a:pt x="73" y="1243"/>
                  </a:lnTo>
                  <a:lnTo>
                    <a:pt x="25" y="1073"/>
                  </a:lnTo>
                  <a:lnTo>
                    <a:pt x="0" y="902"/>
                  </a:lnTo>
                  <a:lnTo>
                    <a:pt x="0" y="902"/>
                  </a:lnTo>
                  <a:lnTo>
                    <a:pt x="25" y="732"/>
                  </a:lnTo>
                  <a:lnTo>
                    <a:pt x="73" y="561"/>
                  </a:lnTo>
                  <a:lnTo>
                    <a:pt x="146" y="391"/>
                  </a:lnTo>
                  <a:lnTo>
                    <a:pt x="268" y="269"/>
                  </a:lnTo>
                  <a:lnTo>
                    <a:pt x="390" y="147"/>
                  </a:lnTo>
                  <a:lnTo>
                    <a:pt x="560" y="74"/>
                  </a:lnTo>
                  <a:lnTo>
                    <a:pt x="731" y="25"/>
                  </a:lnTo>
                  <a:lnTo>
                    <a:pt x="901" y="1"/>
                  </a:lnTo>
                  <a:lnTo>
                    <a:pt x="901" y="1"/>
                  </a:lnTo>
                  <a:lnTo>
                    <a:pt x="1072" y="25"/>
                  </a:lnTo>
                  <a:lnTo>
                    <a:pt x="1242" y="74"/>
                  </a:lnTo>
                  <a:lnTo>
                    <a:pt x="1413" y="147"/>
                  </a:lnTo>
                  <a:lnTo>
                    <a:pt x="1535" y="269"/>
                  </a:lnTo>
                  <a:lnTo>
                    <a:pt x="1656" y="391"/>
                  </a:lnTo>
                  <a:lnTo>
                    <a:pt x="1729" y="561"/>
                  </a:lnTo>
                  <a:lnTo>
                    <a:pt x="1778" y="732"/>
                  </a:lnTo>
                  <a:lnTo>
                    <a:pt x="1802" y="902"/>
                  </a:lnTo>
                  <a:lnTo>
                    <a:pt x="1802" y="902"/>
                  </a:lnTo>
                  <a:lnTo>
                    <a:pt x="1778" y="1073"/>
                  </a:lnTo>
                  <a:lnTo>
                    <a:pt x="1729" y="1243"/>
                  </a:lnTo>
                  <a:lnTo>
                    <a:pt x="1656" y="1414"/>
                  </a:lnTo>
                  <a:lnTo>
                    <a:pt x="1535" y="1535"/>
                  </a:lnTo>
                  <a:lnTo>
                    <a:pt x="1413" y="1657"/>
                  </a:lnTo>
                  <a:lnTo>
                    <a:pt x="1242" y="1730"/>
                  </a:lnTo>
                  <a:lnTo>
                    <a:pt x="1072" y="1779"/>
                  </a:lnTo>
                  <a:lnTo>
                    <a:pt x="901" y="1803"/>
                  </a:lnTo>
                  <a:lnTo>
                    <a:pt x="901" y="1803"/>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 name="Shape 424"/>
            <p:cNvSpPr/>
            <p:nvPr/>
          </p:nvSpPr>
          <p:spPr>
            <a:xfrm>
              <a:off x="654800" y="244200"/>
              <a:ext cx="25" cy="51175"/>
            </a:xfrm>
            <a:custGeom>
              <a:avLst/>
              <a:gdLst/>
              <a:ahLst/>
              <a:cxnLst/>
              <a:rect l="0" t="0" r="0" b="0"/>
              <a:pathLst>
                <a:path w="1" h="2047" fill="none" extrusionOk="0">
                  <a:moveTo>
                    <a:pt x="0" y="1"/>
                  </a:moveTo>
                  <a:lnTo>
                    <a:pt x="0"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1" name="Shape 425"/>
            <p:cNvSpPr/>
            <p:nvPr/>
          </p:nvSpPr>
          <p:spPr>
            <a:xfrm>
              <a:off x="737600" y="244200"/>
              <a:ext cx="25" cy="51175"/>
            </a:xfrm>
            <a:custGeom>
              <a:avLst/>
              <a:gdLst/>
              <a:ahLst/>
              <a:cxnLst/>
              <a:rect l="0" t="0" r="0" b="0"/>
              <a:pathLst>
                <a:path w="1" h="2047" fill="none" extrusionOk="0">
                  <a:moveTo>
                    <a:pt x="1" y="1"/>
                  </a:moveTo>
                  <a:lnTo>
                    <a:pt x="1"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Shape 426"/>
            <p:cNvSpPr/>
            <p:nvPr/>
          </p:nvSpPr>
          <p:spPr>
            <a:xfrm>
              <a:off x="820400" y="244200"/>
              <a:ext cx="25" cy="51175"/>
            </a:xfrm>
            <a:custGeom>
              <a:avLst/>
              <a:gdLst/>
              <a:ahLst/>
              <a:cxnLst/>
              <a:rect l="0" t="0" r="0" b="0"/>
              <a:pathLst>
                <a:path w="1" h="2047" fill="none" extrusionOk="0">
                  <a:moveTo>
                    <a:pt x="1" y="1"/>
                  </a:moveTo>
                  <a:lnTo>
                    <a:pt x="1"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Shape 427"/>
            <p:cNvSpPr/>
            <p:nvPr/>
          </p:nvSpPr>
          <p:spPr>
            <a:xfrm>
              <a:off x="903225" y="244200"/>
              <a:ext cx="25" cy="51175"/>
            </a:xfrm>
            <a:custGeom>
              <a:avLst/>
              <a:gdLst/>
              <a:ahLst/>
              <a:cxnLst/>
              <a:rect l="0" t="0" r="0" b="0"/>
              <a:pathLst>
                <a:path w="1" h="2047" fill="none" extrusionOk="0">
                  <a:moveTo>
                    <a:pt x="0" y="1"/>
                  </a:moveTo>
                  <a:lnTo>
                    <a:pt x="0"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grpSp>
    </p:spTree>
    <p:extLst>
      <p:ext uri="{BB962C8B-B14F-4D97-AF65-F5344CB8AC3E}">
        <p14:creationId xmlns:p14="http://schemas.microsoft.com/office/powerpoint/2010/main" val="11191598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8"/>
          <p:cNvSpPr txBox="1"/>
          <p:nvPr/>
        </p:nvSpPr>
        <p:spPr>
          <a:xfrm>
            <a:off x="346749" y="1993355"/>
            <a:ext cx="2348736" cy="276999"/>
          </a:xfrm>
          <a:prstGeom prst="rect">
            <a:avLst/>
          </a:prstGeom>
          <a:noFill/>
          <a:ln>
            <a:noFill/>
          </a:ln>
        </p:spPr>
        <p:txBody>
          <a:bodyPr wrap="square" lIns="0" tIns="0" rIns="0" bIns="0" rtlCol="0">
            <a:spAutoFit/>
          </a:bodyPr>
          <a:lstStyle/>
          <a:p>
            <a:r>
              <a:rPr lang="en-US" sz="900" b="1" dirty="0">
                <a:solidFill>
                  <a:schemeClr val="tx1"/>
                </a:solidFill>
              </a:rPr>
              <a:t>BURKINA FASO</a:t>
            </a:r>
          </a:p>
          <a:p>
            <a:pPr algn="just"/>
            <a:r>
              <a:rPr lang="en-US" sz="900" dirty="0" err="1"/>
              <a:t>Yeleen</a:t>
            </a:r>
            <a:r>
              <a:rPr lang="en-US" sz="900" dirty="0"/>
              <a:t> Solar </a:t>
            </a:r>
            <a:r>
              <a:rPr lang="en-US" sz="900" dirty="0" err="1"/>
              <a:t>Programme</a:t>
            </a:r>
            <a:endParaRPr lang="en-US" sz="900" b="1" i="1" dirty="0"/>
          </a:p>
        </p:txBody>
      </p:sp>
      <p:sp>
        <p:nvSpPr>
          <p:cNvPr id="9" name="TextBox 8"/>
          <p:cNvSpPr txBox="1"/>
          <p:nvPr/>
        </p:nvSpPr>
        <p:spPr>
          <a:xfrm>
            <a:off x="346749" y="2443416"/>
            <a:ext cx="1941951" cy="984885"/>
          </a:xfrm>
          <a:prstGeom prst="rect">
            <a:avLst/>
          </a:prstGeom>
          <a:noFill/>
          <a:ln w="3175">
            <a:noFill/>
            <a:prstDash val="sysDot"/>
          </a:ln>
        </p:spPr>
        <p:txBody>
          <a:bodyPr wrap="square" lIns="0" tIns="0" rIns="0" bIns="0" rtlCol="0">
            <a:spAutoFit/>
          </a:bodyPr>
          <a:lstStyle/>
          <a:p>
            <a:r>
              <a:rPr lang="en-US" sz="1000" b="1" dirty="0"/>
              <a:t>CÔTE D’IVOIRE</a:t>
            </a:r>
            <a:endParaRPr lang="en-US" sz="500" b="1" dirty="0">
              <a:solidFill>
                <a:srgbClr val="7EB531"/>
              </a:solidFill>
            </a:endParaRPr>
          </a:p>
          <a:p>
            <a:pPr algn="just"/>
            <a:r>
              <a:rPr lang="en-US" sz="900" dirty="0"/>
              <a:t>Pay-As-You-Go Solar Home Systems</a:t>
            </a:r>
          </a:p>
          <a:p>
            <a:pPr algn="just"/>
            <a:r>
              <a:rPr lang="en-US" sz="900" b="1" i="1" dirty="0"/>
              <a:t>First large scale local currency solar assets receivables backed financing structure for the off-grid sector in Africa</a:t>
            </a:r>
          </a:p>
          <a:p>
            <a:pPr algn="r"/>
            <a:endParaRPr lang="en-US" sz="900" dirty="0">
              <a:solidFill>
                <a:srgbClr val="7EB531"/>
              </a:solidFill>
            </a:endParaRPr>
          </a:p>
        </p:txBody>
      </p:sp>
      <p:sp>
        <p:nvSpPr>
          <p:cNvPr id="10" name="TextBox 8"/>
          <p:cNvSpPr txBox="1"/>
          <p:nvPr/>
        </p:nvSpPr>
        <p:spPr>
          <a:xfrm>
            <a:off x="6709267" y="3554093"/>
            <a:ext cx="2287925" cy="276999"/>
          </a:xfrm>
          <a:prstGeom prst="rect">
            <a:avLst/>
          </a:prstGeom>
          <a:noFill/>
          <a:ln w="3175">
            <a:noFill/>
          </a:ln>
        </p:spPr>
        <p:txBody>
          <a:bodyPr wrap="square" lIns="0" tIns="0" rIns="0" bIns="0" rtlCol="0">
            <a:spAutoFit/>
          </a:bodyPr>
          <a:lstStyle/>
          <a:p>
            <a:r>
              <a:rPr lang="en-US" sz="900" b="1" dirty="0">
                <a:solidFill>
                  <a:schemeClr val="tx1"/>
                </a:solidFill>
              </a:rPr>
              <a:t>TANZANIA</a:t>
            </a:r>
            <a:endParaRPr lang="en-US" sz="900" dirty="0">
              <a:solidFill>
                <a:schemeClr val="tx1"/>
              </a:solidFill>
            </a:endParaRPr>
          </a:p>
          <a:p>
            <a:r>
              <a:rPr lang="en-US" sz="900" dirty="0" err="1"/>
              <a:t>Kanoko</a:t>
            </a:r>
            <a:r>
              <a:rPr lang="en-US" sz="900" dirty="0"/>
              <a:t> 87 MW Hydro Power Plant</a:t>
            </a:r>
          </a:p>
        </p:txBody>
      </p:sp>
      <p:sp>
        <p:nvSpPr>
          <p:cNvPr id="11" name="TextBox 8"/>
          <p:cNvSpPr txBox="1"/>
          <p:nvPr/>
        </p:nvSpPr>
        <p:spPr>
          <a:xfrm>
            <a:off x="346749" y="4338921"/>
            <a:ext cx="2817891" cy="571503"/>
          </a:xfrm>
          <a:prstGeom prst="rect">
            <a:avLst/>
          </a:prstGeom>
          <a:noFill/>
          <a:ln w="3175">
            <a:noFill/>
          </a:ln>
        </p:spPr>
        <p:txBody>
          <a:bodyPr wrap="square" lIns="0" tIns="0" rIns="0" bIns="0" rtlCol="0">
            <a:spAutoFit/>
          </a:bodyPr>
          <a:lstStyle/>
          <a:p>
            <a:r>
              <a:rPr lang="en-US" sz="900" b="1" dirty="0">
                <a:solidFill>
                  <a:schemeClr val="tx1"/>
                </a:solidFill>
              </a:rPr>
              <a:t>ZAMBIA</a:t>
            </a:r>
            <a:endParaRPr lang="en-US" sz="900" dirty="0">
              <a:solidFill>
                <a:schemeClr val="tx1"/>
              </a:solidFill>
            </a:endParaRPr>
          </a:p>
          <a:p>
            <a:r>
              <a:rPr lang="en-US" sz="938" dirty="0">
                <a:ea typeface="Arial Unicode MS" panose="020B0604020202020204" pitchFamily="34" charset="-128"/>
                <a:cs typeface="Arial Unicode MS" panose="020B0604020202020204" pitchFamily="34" charset="-128"/>
              </a:rPr>
              <a:t>Renewable Energy Financing Framework </a:t>
            </a:r>
          </a:p>
          <a:p>
            <a:r>
              <a:rPr lang="en-US" sz="938" b="1" i="1" dirty="0">
                <a:ea typeface="Arial Unicode MS" panose="020B0604020202020204" pitchFamily="34" charset="-128"/>
                <a:cs typeface="Arial Unicode MS" panose="020B0604020202020204" pitchFamily="34" charset="-128"/>
              </a:rPr>
              <a:t>Programmatic approach to scale up RE deployment</a:t>
            </a:r>
            <a:endParaRPr lang="en-US" sz="938" i="1" dirty="0">
              <a:ea typeface="Arial Unicode MS" panose="020B0604020202020204" pitchFamily="34" charset="-128"/>
              <a:cs typeface="Arial Unicode MS" panose="020B0604020202020204" pitchFamily="34" charset="-128"/>
            </a:endParaRPr>
          </a:p>
        </p:txBody>
      </p:sp>
      <p:sp>
        <p:nvSpPr>
          <p:cNvPr id="12" name="TextBox 8"/>
          <p:cNvSpPr txBox="1"/>
          <p:nvPr/>
        </p:nvSpPr>
        <p:spPr>
          <a:xfrm>
            <a:off x="6696627" y="2157736"/>
            <a:ext cx="2288566" cy="427168"/>
          </a:xfrm>
          <a:prstGeom prst="rect">
            <a:avLst/>
          </a:prstGeom>
          <a:noFill/>
          <a:ln w="3175">
            <a:noFill/>
            <a:prstDash val="sysDot"/>
          </a:ln>
        </p:spPr>
        <p:txBody>
          <a:bodyPr wrap="square" lIns="0" tIns="0" rIns="0" bIns="0" rtlCol="0">
            <a:spAutoFit/>
          </a:bodyPr>
          <a:lstStyle/>
          <a:p>
            <a:r>
              <a:rPr lang="en-US" sz="900" b="1" dirty="0">
                <a:solidFill>
                  <a:schemeClr val="tx1"/>
                </a:solidFill>
              </a:rPr>
              <a:t>CHAD</a:t>
            </a:r>
          </a:p>
          <a:p>
            <a:r>
              <a:rPr lang="en-US" sz="938" dirty="0">
                <a:ea typeface="Arial Unicode MS" panose="020B0604020202020204" pitchFamily="34" charset="-128"/>
                <a:cs typeface="Arial Unicode MS" panose="020B0604020202020204" pitchFamily="34" charset="-128"/>
              </a:rPr>
              <a:t>30 MW Solar PV Power Plant </a:t>
            </a:r>
          </a:p>
          <a:p>
            <a:r>
              <a:rPr lang="en-US" sz="938" b="1" i="1" dirty="0">
                <a:ea typeface="Arial Unicode MS" panose="020B0604020202020204" pitchFamily="34" charset="-128"/>
                <a:cs typeface="Arial Unicode MS" panose="020B0604020202020204" pitchFamily="34" charset="-128"/>
              </a:rPr>
              <a:t>First IPP and PPP in the country</a:t>
            </a:r>
          </a:p>
        </p:txBody>
      </p:sp>
      <p:cxnSp>
        <p:nvCxnSpPr>
          <p:cNvPr id="17" name="Straight Connector 16"/>
          <p:cNvCxnSpPr>
            <a:cxnSpLocks/>
          </p:cNvCxnSpPr>
          <p:nvPr/>
        </p:nvCxnSpPr>
        <p:spPr>
          <a:xfrm>
            <a:off x="1769840" y="1931160"/>
            <a:ext cx="0" cy="4013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flipH="1">
            <a:off x="2427751" y="2540566"/>
            <a:ext cx="2" cy="787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634141" y="4332138"/>
            <a:ext cx="108" cy="5713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6636877" y="2862935"/>
            <a:ext cx="6293" cy="4121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633691" y="4271206"/>
            <a:ext cx="0" cy="3234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8"/>
          <p:cNvSpPr txBox="1"/>
          <p:nvPr/>
        </p:nvSpPr>
        <p:spPr>
          <a:xfrm>
            <a:off x="6696627" y="2930999"/>
            <a:ext cx="2294612" cy="276999"/>
          </a:xfrm>
          <a:prstGeom prst="rect">
            <a:avLst/>
          </a:prstGeom>
          <a:noFill/>
          <a:ln w="3175">
            <a:noFill/>
          </a:ln>
        </p:spPr>
        <p:txBody>
          <a:bodyPr wrap="square" lIns="0" tIns="0" rIns="0" bIns="0" rtlCol="0">
            <a:spAutoFit/>
          </a:bodyPr>
          <a:lstStyle/>
          <a:p>
            <a:r>
              <a:rPr lang="en-US" sz="900" b="1" dirty="0">
                <a:solidFill>
                  <a:schemeClr val="tx1"/>
                </a:solidFill>
              </a:rPr>
              <a:t>KENYA</a:t>
            </a:r>
            <a:endParaRPr lang="en-US" sz="900" dirty="0">
              <a:solidFill>
                <a:schemeClr val="tx1"/>
              </a:solidFill>
            </a:endParaRPr>
          </a:p>
          <a:p>
            <a:r>
              <a:rPr lang="en-US" sz="900" dirty="0" err="1"/>
              <a:t>Menengai</a:t>
            </a:r>
            <a:r>
              <a:rPr lang="en-US" sz="900" dirty="0"/>
              <a:t> 35 MW Geothermal Power Plant</a:t>
            </a:r>
          </a:p>
        </p:txBody>
      </p:sp>
      <p:cxnSp>
        <p:nvCxnSpPr>
          <p:cNvPr id="40" name="Straight Connector 26"/>
          <p:cNvCxnSpPr>
            <a:cxnSpLocks/>
          </p:cNvCxnSpPr>
          <p:nvPr/>
        </p:nvCxnSpPr>
        <p:spPr>
          <a:xfrm>
            <a:off x="6634462" y="2130552"/>
            <a:ext cx="2415" cy="4543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TextBox 8"/>
          <p:cNvSpPr txBox="1"/>
          <p:nvPr/>
        </p:nvSpPr>
        <p:spPr>
          <a:xfrm>
            <a:off x="6706997" y="4291513"/>
            <a:ext cx="2314523" cy="282834"/>
          </a:xfrm>
          <a:prstGeom prst="rect">
            <a:avLst/>
          </a:prstGeom>
          <a:noFill/>
          <a:ln w="3175">
            <a:noFill/>
            <a:prstDash val="sysDot"/>
          </a:ln>
        </p:spPr>
        <p:txBody>
          <a:bodyPr wrap="square" lIns="0" tIns="0" rIns="0" bIns="0" rtlCol="0">
            <a:spAutoFit/>
          </a:bodyPr>
          <a:lstStyle/>
          <a:p>
            <a:r>
              <a:rPr lang="en-US" sz="900" b="1" dirty="0">
                <a:solidFill>
                  <a:schemeClr val="tx1"/>
                </a:solidFill>
              </a:rPr>
              <a:t>MADAGASCAR</a:t>
            </a:r>
          </a:p>
          <a:p>
            <a:r>
              <a:rPr lang="en-US" sz="938" dirty="0">
                <a:ea typeface="Arial Unicode MS" panose="020B0604020202020204" pitchFamily="34" charset="-128"/>
                <a:cs typeface="Arial Unicode MS" panose="020B0604020202020204" pitchFamily="34" charset="-128"/>
              </a:rPr>
              <a:t>200 MW Hydro Power Plant</a:t>
            </a:r>
            <a:endParaRPr lang="en-US" sz="938" b="1" i="1" dirty="0">
              <a:ea typeface="Arial Unicode MS" panose="020B0604020202020204" pitchFamily="34" charset="-128"/>
              <a:cs typeface="Arial Unicode MS" panose="020B0604020202020204" pitchFamily="34" charset="-128"/>
            </a:endParaRPr>
          </a:p>
        </p:txBody>
      </p:sp>
      <p:sp>
        <p:nvSpPr>
          <p:cNvPr id="2" name="Title 1">
            <a:extLst>
              <a:ext uri="{FF2B5EF4-FFF2-40B4-BE49-F238E27FC236}">
                <a16:creationId xmlns:a16="http://schemas.microsoft.com/office/drawing/2014/main" id="{CC6D31D6-9B62-2C4D-B2D3-51EB63CFFC26}"/>
              </a:ext>
            </a:extLst>
          </p:cNvPr>
          <p:cNvSpPr>
            <a:spLocks noGrp="1"/>
          </p:cNvSpPr>
          <p:nvPr>
            <p:ph type="title"/>
          </p:nvPr>
        </p:nvSpPr>
        <p:spPr>
          <a:xfrm>
            <a:off x="1381250" y="922668"/>
            <a:ext cx="7198546" cy="435600"/>
          </a:xfrm>
        </p:spPr>
        <p:txBody>
          <a:bodyPr/>
          <a:lstStyle/>
          <a:p>
            <a:r>
              <a:rPr lang="en-US" sz="2400" dirty="0"/>
              <a:t>Selected operations expected to be supported by the African Development Bank</a:t>
            </a:r>
          </a:p>
        </p:txBody>
      </p:sp>
      <p:sp>
        <p:nvSpPr>
          <p:cNvPr id="38" name="TextBox 8"/>
          <p:cNvSpPr txBox="1"/>
          <p:nvPr/>
        </p:nvSpPr>
        <p:spPr>
          <a:xfrm>
            <a:off x="340901" y="3607904"/>
            <a:ext cx="2348736" cy="276999"/>
          </a:xfrm>
          <a:prstGeom prst="rect">
            <a:avLst/>
          </a:prstGeom>
          <a:noFill/>
          <a:ln>
            <a:noFill/>
          </a:ln>
        </p:spPr>
        <p:txBody>
          <a:bodyPr wrap="square" lIns="0" tIns="0" rIns="0" bIns="0" rtlCol="0">
            <a:spAutoFit/>
          </a:bodyPr>
          <a:lstStyle/>
          <a:p>
            <a:r>
              <a:rPr lang="en-US" sz="900" b="1" dirty="0">
                <a:solidFill>
                  <a:schemeClr val="tx1"/>
                </a:solidFill>
              </a:rPr>
              <a:t>NIGERIA</a:t>
            </a:r>
          </a:p>
          <a:p>
            <a:pPr algn="just"/>
            <a:r>
              <a:rPr lang="en-US" sz="900" dirty="0"/>
              <a:t>50 to 100 MW Solar PV Power Plants</a:t>
            </a:r>
            <a:endParaRPr lang="en-US" sz="900" b="1" i="1" dirty="0"/>
          </a:p>
        </p:txBody>
      </p:sp>
      <p:cxnSp>
        <p:nvCxnSpPr>
          <p:cNvPr id="41" name="Straight Connector 23"/>
          <p:cNvCxnSpPr>
            <a:cxnSpLocks/>
          </p:cNvCxnSpPr>
          <p:nvPr/>
        </p:nvCxnSpPr>
        <p:spPr>
          <a:xfrm>
            <a:off x="2454547" y="3554093"/>
            <a:ext cx="0" cy="3882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3F4929D-509E-2847-81D3-D3F6383606E1}"/>
              </a:ext>
            </a:extLst>
          </p:cNvPr>
          <p:cNvPicPr>
            <a:picLocks noChangeAspect="1"/>
          </p:cNvPicPr>
          <p:nvPr/>
        </p:nvPicPr>
        <p:blipFill>
          <a:blip r:embed="rId2"/>
          <a:stretch>
            <a:fillRect/>
          </a:stretch>
        </p:blipFill>
        <p:spPr>
          <a:xfrm>
            <a:off x="3336765" y="1779047"/>
            <a:ext cx="2597488" cy="2772994"/>
          </a:xfrm>
          <a:prstGeom prst="rect">
            <a:avLst/>
          </a:prstGeom>
        </p:spPr>
      </p:pic>
      <p:cxnSp>
        <p:nvCxnSpPr>
          <p:cNvPr id="14" name="Elbow Connector 13">
            <a:extLst>
              <a:ext uri="{FF2B5EF4-FFF2-40B4-BE49-F238E27FC236}">
                <a16:creationId xmlns:a16="http://schemas.microsoft.com/office/drawing/2014/main" id="{530C38B6-4EC0-194A-9019-9EFE2C9DE86A}"/>
              </a:ext>
            </a:extLst>
          </p:cNvPr>
          <p:cNvCxnSpPr/>
          <p:nvPr/>
        </p:nvCxnSpPr>
        <p:spPr>
          <a:xfrm>
            <a:off x="1769840" y="2131854"/>
            <a:ext cx="1883345" cy="557582"/>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44119D1E-4B81-5844-8EBD-716060AE8500}"/>
              </a:ext>
            </a:extLst>
          </p:cNvPr>
          <p:cNvSpPr/>
          <p:nvPr/>
        </p:nvSpPr>
        <p:spPr>
          <a:xfrm>
            <a:off x="3539001" y="2529707"/>
            <a:ext cx="340963" cy="351506"/>
          </a:xfrm>
          <a:prstGeom prst="ellipse">
            <a:avLst/>
          </a:prstGeom>
          <a:solidFill>
            <a:srgbClr val="8E8E8E">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Arrow Connector 19">
            <a:extLst>
              <a:ext uri="{FF2B5EF4-FFF2-40B4-BE49-F238E27FC236}">
                <a16:creationId xmlns:a16="http://schemas.microsoft.com/office/drawing/2014/main" id="{DE86E719-C6F4-7544-B001-B42B261A341F}"/>
              </a:ext>
            </a:extLst>
          </p:cNvPr>
          <p:cNvCxnSpPr>
            <a:cxnSpLocks/>
          </p:cNvCxnSpPr>
          <p:nvPr/>
        </p:nvCxnSpPr>
        <p:spPr>
          <a:xfrm>
            <a:off x="2427751" y="2935858"/>
            <a:ext cx="12817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F23628E4-348D-8041-83D2-EC49A67C4943}"/>
              </a:ext>
            </a:extLst>
          </p:cNvPr>
          <p:cNvSpPr/>
          <p:nvPr/>
        </p:nvSpPr>
        <p:spPr>
          <a:xfrm>
            <a:off x="3590035" y="2735783"/>
            <a:ext cx="340963" cy="351506"/>
          </a:xfrm>
          <a:prstGeom prst="ellipse">
            <a:avLst/>
          </a:prstGeom>
          <a:solidFill>
            <a:srgbClr val="8E8E8E">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Elbow Connector 29">
            <a:extLst>
              <a:ext uri="{FF2B5EF4-FFF2-40B4-BE49-F238E27FC236}">
                <a16:creationId xmlns:a16="http://schemas.microsoft.com/office/drawing/2014/main" id="{0A1FB2DE-DA85-7341-9FB3-575E02C10AEE}"/>
              </a:ext>
            </a:extLst>
          </p:cNvPr>
          <p:cNvCxnSpPr>
            <a:cxnSpLocks/>
          </p:cNvCxnSpPr>
          <p:nvPr/>
        </p:nvCxnSpPr>
        <p:spPr>
          <a:xfrm flipV="1">
            <a:off x="2460825" y="3022169"/>
            <a:ext cx="1534065" cy="72603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04FDE668-3F8C-2746-8AF7-94F63A078515}"/>
              </a:ext>
            </a:extLst>
          </p:cNvPr>
          <p:cNvSpPr/>
          <p:nvPr/>
        </p:nvSpPr>
        <p:spPr>
          <a:xfrm>
            <a:off x="3874268" y="2735783"/>
            <a:ext cx="378722" cy="390433"/>
          </a:xfrm>
          <a:prstGeom prst="ellipse">
            <a:avLst/>
          </a:prstGeom>
          <a:solidFill>
            <a:srgbClr val="8E8E8E">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Elbow Connector 45">
            <a:extLst>
              <a:ext uri="{FF2B5EF4-FFF2-40B4-BE49-F238E27FC236}">
                <a16:creationId xmlns:a16="http://schemas.microsoft.com/office/drawing/2014/main" id="{DEA17DE9-4DB0-3140-BD8F-109CC7311DC4}"/>
              </a:ext>
            </a:extLst>
          </p:cNvPr>
          <p:cNvCxnSpPr>
            <a:cxnSpLocks/>
          </p:cNvCxnSpPr>
          <p:nvPr/>
        </p:nvCxnSpPr>
        <p:spPr>
          <a:xfrm flipV="1">
            <a:off x="2643911" y="3891687"/>
            <a:ext cx="2414425" cy="73079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4D0B3A2E-6E37-BB41-A575-9087E5C7321C}"/>
              </a:ext>
            </a:extLst>
          </p:cNvPr>
          <p:cNvSpPr/>
          <p:nvPr/>
        </p:nvSpPr>
        <p:spPr>
          <a:xfrm>
            <a:off x="4788965" y="3668582"/>
            <a:ext cx="378722" cy="390433"/>
          </a:xfrm>
          <a:prstGeom prst="ellipse">
            <a:avLst/>
          </a:prstGeom>
          <a:solidFill>
            <a:srgbClr val="8E8E8E">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Elbow Connector 35">
            <a:extLst>
              <a:ext uri="{FF2B5EF4-FFF2-40B4-BE49-F238E27FC236}">
                <a16:creationId xmlns:a16="http://schemas.microsoft.com/office/drawing/2014/main" id="{BB04E218-63A1-6949-9AE5-E85B2484BA4A}"/>
              </a:ext>
            </a:extLst>
          </p:cNvPr>
          <p:cNvCxnSpPr>
            <a:cxnSpLocks/>
          </p:cNvCxnSpPr>
          <p:nvPr/>
        </p:nvCxnSpPr>
        <p:spPr>
          <a:xfrm rot="10800000" flipV="1">
            <a:off x="5309294" y="3069009"/>
            <a:ext cx="1338800" cy="202799"/>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EC6ECDBC-6B62-0A4D-B38C-CAB8E4716909}"/>
              </a:ext>
            </a:extLst>
          </p:cNvPr>
          <p:cNvSpPr/>
          <p:nvPr/>
        </p:nvSpPr>
        <p:spPr>
          <a:xfrm>
            <a:off x="5132131" y="3087289"/>
            <a:ext cx="378722" cy="390433"/>
          </a:xfrm>
          <a:prstGeom prst="ellipse">
            <a:avLst/>
          </a:prstGeom>
          <a:solidFill>
            <a:srgbClr val="8E8E8E">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47903DBC-4A2B-AA40-9139-9E3B1F8E0E59}"/>
              </a:ext>
            </a:extLst>
          </p:cNvPr>
          <p:cNvSpPr/>
          <p:nvPr/>
        </p:nvSpPr>
        <p:spPr>
          <a:xfrm>
            <a:off x="5208815" y="3462669"/>
            <a:ext cx="378722" cy="390433"/>
          </a:xfrm>
          <a:prstGeom prst="ellipse">
            <a:avLst/>
          </a:prstGeom>
          <a:solidFill>
            <a:srgbClr val="8E8E8E">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8311DBD0-3645-364F-9F65-8740F11FFB0C}"/>
              </a:ext>
            </a:extLst>
          </p:cNvPr>
          <p:cNvSpPr/>
          <p:nvPr/>
        </p:nvSpPr>
        <p:spPr>
          <a:xfrm>
            <a:off x="4642870" y="2540566"/>
            <a:ext cx="378722" cy="390433"/>
          </a:xfrm>
          <a:prstGeom prst="ellipse">
            <a:avLst/>
          </a:prstGeom>
          <a:solidFill>
            <a:srgbClr val="8E8E8E">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6" name="Elbow Connector 65">
            <a:extLst>
              <a:ext uri="{FF2B5EF4-FFF2-40B4-BE49-F238E27FC236}">
                <a16:creationId xmlns:a16="http://schemas.microsoft.com/office/drawing/2014/main" id="{54A03942-B8AC-E647-9E50-2FE2194BCEAA}"/>
              </a:ext>
            </a:extLst>
          </p:cNvPr>
          <p:cNvCxnSpPr>
            <a:cxnSpLocks/>
          </p:cNvCxnSpPr>
          <p:nvPr/>
        </p:nvCxnSpPr>
        <p:spPr>
          <a:xfrm rot="10800000" flipV="1">
            <a:off x="4814622" y="2353523"/>
            <a:ext cx="1819840" cy="376806"/>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97C746C-CEFC-EB4D-8AAC-2A5133140321}"/>
              </a:ext>
            </a:extLst>
          </p:cNvPr>
          <p:cNvCxnSpPr/>
          <p:nvPr/>
        </p:nvCxnSpPr>
        <p:spPr>
          <a:xfrm flipH="1">
            <a:off x="6633691" y="3479533"/>
            <a:ext cx="6293" cy="4121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BA45CD99-E0A7-2045-9C62-C78981BA699A}"/>
              </a:ext>
            </a:extLst>
          </p:cNvPr>
          <p:cNvCxnSpPr/>
          <p:nvPr/>
        </p:nvCxnSpPr>
        <p:spPr>
          <a:xfrm flipH="1" flipV="1">
            <a:off x="5321492" y="3668582"/>
            <a:ext cx="1321678" cy="17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F025B966-37D4-3041-ABF3-449A3E400D45}"/>
              </a:ext>
            </a:extLst>
          </p:cNvPr>
          <p:cNvSpPr/>
          <p:nvPr/>
        </p:nvSpPr>
        <p:spPr>
          <a:xfrm>
            <a:off x="5510853" y="3831092"/>
            <a:ext cx="378722" cy="390433"/>
          </a:xfrm>
          <a:prstGeom prst="ellipse">
            <a:avLst/>
          </a:prstGeom>
          <a:solidFill>
            <a:srgbClr val="8E8E8E">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3" name="Elbow Connector 72">
            <a:extLst>
              <a:ext uri="{FF2B5EF4-FFF2-40B4-BE49-F238E27FC236}">
                <a16:creationId xmlns:a16="http://schemas.microsoft.com/office/drawing/2014/main" id="{256D71A6-9B99-F348-A91F-56BE06C51C01}"/>
              </a:ext>
            </a:extLst>
          </p:cNvPr>
          <p:cNvCxnSpPr>
            <a:cxnSpLocks/>
          </p:cNvCxnSpPr>
          <p:nvPr/>
        </p:nvCxnSpPr>
        <p:spPr>
          <a:xfrm rot="10800000">
            <a:off x="5700217" y="4037171"/>
            <a:ext cx="933475" cy="394424"/>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536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C6C9A-EA0C-1240-BC4D-C030F3C3A99E}"/>
              </a:ext>
            </a:extLst>
          </p:cNvPr>
          <p:cNvSpPr>
            <a:spLocks noGrp="1"/>
          </p:cNvSpPr>
          <p:nvPr>
            <p:ph type="title"/>
          </p:nvPr>
        </p:nvSpPr>
        <p:spPr>
          <a:xfrm>
            <a:off x="1381250" y="922668"/>
            <a:ext cx="7237456" cy="435600"/>
          </a:xfrm>
        </p:spPr>
        <p:txBody>
          <a:bodyPr/>
          <a:lstStyle/>
          <a:p>
            <a:r>
              <a:rPr lang="en-US" sz="2400" dirty="0"/>
              <a:t>Initiatives</a:t>
            </a:r>
          </a:p>
        </p:txBody>
      </p:sp>
      <p:sp>
        <p:nvSpPr>
          <p:cNvPr id="3" name="Text Placeholder 2">
            <a:extLst>
              <a:ext uri="{FF2B5EF4-FFF2-40B4-BE49-F238E27FC236}">
                <a16:creationId xmlns:a16="http://schemas.microsoft.com/office/drawing/2014/main" id="{6CF087DB-67E5-E245-BCB1-2EBA95FC27C3}"/>
              </a:ext>
            </a:extLst>
          </p:cNvPr>
          <p:cNvSpPr>
            <a:spLocks noGrp="1"/>
          </p:cNvSpPr>
          <p:nvPr>
            <p:ph type="body" idx="1"/>
          </p:nvPr>
        </p:nvSpPr>
        <p:spPr>
          <a:xfrm>
            <a:off x="233384" y="1280446"/>
            <a:ext cx="8677151" cy="3785232"/>
          </a:xfrm>
        </p:spPr>
        <p:txBody>
          <a:bodyPr/>
          <a:lstStyle/>
          <a:p>
            <a:r>
              <a:rPr lang="en-US" sz="1600" b="1" dirty="0"/>
              <a:t>Desert-to-power</a:t>
            </a:r>
          </a:p>
          <a:p>
            <a:pPr lvl="1" algn="just"/>
            <a:r>
              <a:rPr lang="en-US" sz="1200" b="1" dirty="0"/>
              <a:t>Objectives</a:t>
            </a:r>
            <a:r>
              <a:rPr lang="en-US" sz="1200" dirty="0"/>
              <a:t>: 10 GW additional capacity, energy access for 250 million people in 11 countries of the Sahel-Sahara region including 160 million people through on grid solutions and 90 million people though off-grid solutions</a:t>
            </a:r>
          </a:p>
          <a:p>
            <a:pPr lvl="1" algn="just"/>
            <a:r>
              <a:rPr lang="en-US" sz="1200" b="1" dirty="0"/>
              <a:t>Implementation modalities</a:t>
            </a:r>
            <a:r>
              <a:rPr lang="en-US" sz="1200" dirty="0"/>
              <a:t>: (</a:t>
            </a:r>
            <a:r>
              <a:rPr lang="en-US" sz="1200" dirty="0" err="1"/>
              <a:t>i</a:t>
            </a:r>
            <a:r>
              <a:rPr lang="en-US" sz="1200" dirty="0"/>
              <a:t>) Promotion of PPP best practices (Masen model); (ii) Increasing local content, promoting local development opportunities (solar for irrigation, water pumping, livestock); (iii) Building capacities via a regional solar school</a:t>
            </a:r>
          </a:p>
          <a:p>
            <a:r>
              <a:rPr lang="en-US" sz="1600" b="1" dirty="0"/>
              <a:t>Off-grid revolution</a:t>
            </a:r>
          </a:p>
          <a:p>
            <a:pPr lvl="1"/>
            <a:r>
              <a:rPr lang="en-US" sz="1200" b="1" dirty="0"/>
              <a:t>Support the development of green mini-grids and solar home systems through technical assistance &amp; whole village electrification initiatives</a:t>
            </a:r>
            <a:r>
              <a:rPr lang="en-US" sz="1200" dirty="0"/>
              <a:t>– e.g. pilot in Togo in 2018</a:t>
            </a:r>
          </a:p>
          <a:p>
            <a:pPr lvl="2"/>
            <a:r>
              <a:rPr lang="en-US" sz="1200" dirty="0"/>
              <a:t>Develop country-wide off-grid </a:t>
            </a:r>
            <a:r>
              <a:rPr lang="en-US" sz="1200" dirty="0" err="1"/>
              <a:t>programmes</a:t>
            </a:r>
            <a:endParaRPr lang="en-US" sz="1200" dirty="0"/>
          </a:p>
          <a:p>
            <a:pPr lvl="2"/>
            <a:r>
              <a:rPr lang="en-US" sz="1200" dirty="0"/>
              <a:t>Finance DESCOs in target countries for instance through FEI</a:t>
            </a:r>
          </a:p>
          <a:p>
            <a:pPr lvl="2"/>
            <a:r>
              <a:rPr lang="en-US" sz="1200" dirty="0"/>
              <a:t>Build on Green Mini Grid Market Development Program</a:t>
            </a:r>
          </a:p>
          <a:p>
            <a:pPr lvl="1"/>
            <a:r>
              <a:rPr lang="en-US" sz="1200" b="1" dirty="0"/>
              <a:t>Financing of private sector investors </a:t>
            </a:r>
            <a:r>
              <a:rPr lang="en-US" sz="1200" dirty="0"/>
              <a:t>– e.g. Pilot Receivables financing off-grid project in Côte d’Ivoire in 2018 </a:t>
            </a:r>
          </a:p>
          <a:p>
            <a:pPr lvl="2"/>
            <a:r>
              <a:rPr lang="en-US" sz="1200" dirty="0"/>
              <a:t>Providing finance and exploring innovative finance instruments for DESCOs to grow and expand their business in new countries</a:t>
            </a:r>
          </a:p>
          <a:p>
            <a:pPr lvl="2"/>
            <a:r>
              <a:rPr lang="en-US" sz="1200" dirty="0"/>
              <a:t>Mobilizing climate finance</a:t>
            </a:r>
          </a:p>
          <a:p>
            <a:pPr lvl="2"/>
            <a:r>
              <a:rPr lang="en-US" sz="1200" dirty="0"/>
              <a:t>Leveraging technology to set up “evaluation as you go” desk</a:t>
            </a:r>
          </a:p>
          <a:p>
            <a:pPr lvl="2"/>
            <a:endParaRPr lang="en-US" sz="1200" dirty="0"/>
          </a:p>
          <a:p>
            <a:pPr lvl="1"/>
            <a:endParaRPr lang="en-US" sz="1200" dirty="0"/>
          </a:p>
          <a:p>
            <a:pPr lvl="1"/>
            <a:endParaRPr lang="en-US" sz="1200" b="1" dirty="0"/>
          </a:p>
        </p:txBody>
      </p:sp>
    </p:spTree>
    <p:extLst>
      <p:ext uri="{BB962C8B-B14F-4D97-AF65-F5344CB8AC3E}">
        <p14:creationId xmlns:p14="http://schemas.microsoft.com/office/powerpoint/2010/main" val="4273750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89" name="Shape 89"/>
          <p:cNvSpPr txBox="1">
            <a:spLocks noGrp="1"/>
          </p:cNvSpPr>
          <p:nvPr>
            <p:ph type="subTitle" idx="4294967295"/>
          </p:nvPr>
        </p:nvSpPr>
        <p:spPr>
          <a:xfrm>
            <a:off x="2371500" y="2093775"/>
            <a:ext cx="5021400" cy="784800"/>
          </a:xfrm>
          <a:prstGeom prst="rect">
            <a:avLst/>
          </a:prstGeom>
        </p:spPr>
        <p:txBody>
          <a:bodyPr spcFirstLastPara="1" wrap="square" lIns="91425" tIns="91425" rIns="91425" bIns="91425" anchor="t" anchorCtr="0">
            <a:noAutofit/>
          </a:bodyPr>
          <a:lstStyle/>
          <a:p>
            <a:pPr marL="0" lvl="0" indent="0" rtl="0">
              <a:spcBef>
                <a:spcPts val="600"/>
              </a:spcBef>
              <a:spcAft>
                <a:spcPts val="0"/>
              </a:spcAft>
              <a:buNone/>
            </a:pPr>
            <a:r>
              <a:rPr lang="en" sz="3600" b="1" i="1" dirty="0">
                <a:latin typeface="Cambria" charset="0"/>
                <a:ea typeface="Cambria" charset="0"/>
                <a:cs typeface="Cambria" charset="0"/>
                <a:sym typeface="Lora"/>
              </a:rPr>
              <a:t>I am </a:t>
            </a:r>
            <a:r>
              <a:rPr lang="en-US" sz="3600" b="1" i="1" dirty="0" err="1">
                <a:highlight>
                  <a:srgbClr val="FFCD00"/>
                </a:highlight>
                <a:latin typeface="Cambria" charset="0"/>
                <a:ea typeface="Cambria" charset="0"/>
                <a:cs typeface="Cambria" charset="0"/>
                <a:sym typeface="Lora"/>
              </a:rPr>
              <a:t>Amadou</a:t>
            </a:r>
            <a:r>
              <a:rPr lang="en-US" sz="3600" b="1" i="1" dirty="0">
                <a:highlight>
                  <a:srgbClr val="FFCD00"/>
                </a:highlight>
                <a:latin typeface="Cambria" charset="0"/>
                <a:ea typeface="Cambria" charset="0"/>
                <a:cs typeface="Cambria" charset="0"/>
                <a:sym typeface="Lora"/>
              </a:rPr>
              <a:t> </a:t>
            </a:r>
            <a:r>
              <a:rPr lang="en-US" sz="3600" b="1" i="1" dirty="0" err="1">
                <a:highlight>
                  <a:srgbClr val="FFCD00"/>
                </a:highlight>
                <a:latin typeface="Cambria" charset="0"/>
                <a:ea typeface="Cambria" charset="0"/>
                <a:cs typeface="Cambria" charset="0"/>
                <a:sym typeface="Lora"/>
              </a:rPr>
              <a:t>Hott</a:t>
            </a:r>
            <a:endParaRPr sz="3600" b="1" i="1" dirty="0">
              <a:highlight>
                <a:srgbClr val="FFCD00"/>
              </a:highlight>
              <a:latin typeface="Cambria" charset="0"/>
              <a:ea typeface="Cambria" charset="0"/>
              <a:cs typeface="Cambria" charset="0"/>
              <a:sym typeface="Lora"/>
            </a:endParaRPr>
          </a:p>
          <a:p>
            <a:pPr marL="0" lvl="0" indent="0">
              <a:buClr>
                <a:schemeClr val="dk1"/>
              </a:buClr>
              <a:buSzPts val="1100"/>
              <a:buNone/>
            </a:pPr>
            <a:r>
              <a:rPr lang="en-US" sz="1800" dirty="0">
                <a:solidFill>
                  <a:schemeClr val="dk1"/>
                </a:solidFill>
              </a:rPr>
              <a:t>Vice President Vice-President, Power, Energy, Climate and Green Growth</a:t>
            </a:r>
            <a:endParaRPr sz="1800" dirty="0">
              <a:solidFill>
                <a:schemeClr val="dk1"/>
              </a:solidFill>
            </a:endParaRPr>
          </a:p>
        </p:txBody>
      </p:sp>
      <p:cxnSp>
        <p:nvCxnSpPr>
          <p:cNvPr id="90" name="Shape 90"/>
          <p:cNvCxnSpPr/>
          <p:nvPr/>
        </p:nvCxnSpPr>
        <p:spPr>
          <a:xfrm>
            <a:off x="6450" y="1428750"/>
            <a:ext cx="2397300" cy="0"/>
          </a:xfrm>
          <a:prstGeom prst="straightConnector1">
            <a:avLst/>
          </a:prstGeom>
          <a:noFill/>
          <a:ln w="9525" cap="flat" cmpd="sng">
            <a:solidFill>
              <a:srgbClr val="CCCCCC"/>
            </a:solidFill>
            <a:prstDash val="solid"/>
            <a:round/>
            <a:headEnd type="none" w="lg" len="lg"/>
            <a:tailEnd type="none" w="lg" len="lg"/>
          </a:ln>
        </p:spPr>
      </p:cxnSp>
      <p:pic>
        <p:nvPicPr>
          <p:cNvPr id="91" name="Shape 91"/>
          <p:cNvPicPr preferRelativeResize="0"/>
          <p:nvPr/>
        </p:nvPicPr>
        <p:blipFill>
          <a:blip r:embed="rId3"/>
          <a:stretch>
            <a:fillRect/>
          </a:stretch>
        </p:blipFill>
        <p:spPr>
          <a:xfrm>
            <a:off x="866767" y="888891"/>
            <a:ext cx="1069365" cy="1079714"/>
          </a:xfrm>
          <a:prstGeom prst="ellipse">
            <a:avLst/>
          </a:prstGeom>
          <a:noFill/>
          <a:ln>
            <a:noFill/>
          </a:ln>
        </p:spPr>
      </p:pic>
      <p:sp>
        <p:nvSpPr>
          <p:cNvPr id="92" name="Shape 92"/>
          <p:cNvSpPr txBox="1">
            <a:spLocks noGrp="1"/>
          </p:cNvSpPr>
          <p:nvPr>
            <p:ph type="ctrTitle" idx="4294967295"/>
          </p:nvPr>
        </p:nvSpPr>
        <p:spPr>
          <a:xfrm>
            <a:off x="2371625" y="816550"/>
            <a:ext cx="4908000" cy="1159800"/>
          </a:xfrm>
          <a:prstGeom prst="rect">
            <a:avLst/>
          </a:prstGeom>
        </p:spPr>
        <p:txBody>
          <a:bodyPr spcFirstLastPara="1" wrap="square" lIns="91425" tIns="91425" rIns="91425" bIns="91425" anchor="ctr" anchorCtr="0">
            <a:noAutofit/>
          </a:bodyPr>
          <a:lstStyle/>
          <a:p>
            <a:pPr marL="0" lvl="0" indent="0">
              <a:spcBef>
                <a:spcPts val="0"/>
              </a:spcBef>
              <a:spcAft>
                <a:spcPts val="0"/>
              </a:spcAft>
              <a:buNone/>
            </a:pPr>
            <a:r>
              <a:rPr lang="en" sz="6000" dirty="0">
                <a:latin typeface="Cambria" charset="0"/>
                <a:ea typeface="Cambria" charset="0"/>
                <a:cs typeface="Cambria" charset="0"/>
              </a:rPr>
              <a:t>Hello!</a:t>
            </a:r>
            <a:endParaRPr sz="6000" dirty="0">
              <a:latin typeface="Cambria" charset="0"/>
              <a:ea typeface="Cambria" charset="0"/>
              <a:cs typeface="Cambria" charset="0"/>
            </a:endParaRPr>
          </a:p>
        </p:txBody>
      </p:sp>
      <p:cxnSp>
        <p:nvCxnSpPr>
          <p:cNvPr id="93" name="Shape 93"/>
          <p:cNvCxnSpPr/>
          <p:nvPr/>
        </p:nvCxnSpPr>
        <p:spPr>
          <a:xfrm>
            <a:off x="4738400" y="1428750"/>
            <a:ext cx="4405500" cy="0"/>
          </a:xfrm>
          <a:prstGeom prst="straightConnector1">
            <a:avLst/>
          </a:prstGeom>
          <a:noFill/>
          <a:ln w="9525" cap="flat" cmpd="sng">
            <a:solidFill>
              <a:srgbClr val="CCCCCC"/>
            </a:solidFill>
            <a:prstDash val="solid"/>
            <a:round/>
            <a:headEnd type="none" w="lg" len="lg"/>
            <a:tailEnd type="none" w="lg" len="lg"/>
          </a:ln>
        </p:spPr>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Shape 179"/>
        <p:cNvGrpSpPr/>
        <p:nvPr/>
      </p:nvGrpSpPr>
      <p:grpSpPr>
        <a:xfrm>
          <a:off x="0" y="0"/>
          <a:ext cx="0" cy="0"/>
          <a:chOff x="0" y="0"/>
          <a:chExt cx="0" cy="0"/>
        </a:xfrm>
      </p:grpSpPr>
      <p:sp>
        <p:nvSpPr>
          <p:cNvPr id="180" name="Shape 180"/>
          <p:cNvSpPr txBox="1">
            <a:spLocks noGrp="1"/>
          </p:cNvSpPr>
          <p:nvPr>
            <p:ph type="title" idx="4294967295"/>
          </p:nvPr>
        </p:nvSpPr>
        <p:spPr>
          <a:xfrm>
            <a:off x="3399149" y="1825990"/>
            <a:ext cx="2345700" cy="504000"/>
          </a:xfrm>
          <a:prstGeom prst="rect">
            <a:avLst/>
          </a:prstGeom>
        </p:spPr>
        <p:txBody>
          <a:bodyPr spcFirstLastPara="1" wrap="square" lIns="91425" tIns="91425" rIns="91425" bIns="91425" anchor="b" anchorCtr="0">
            <a:noAutofit/>
          </a:bodyPr>
          <a:lstStyle/>
          <a:p>
            <a:pPr marL="0" lvl="0" indent="0" algn="ctr" rtl="0">
              <a:spcBef>
                <a:spcPts val="0"/>
              </a:spcBef>
              <a:spcAft>
                <a:spcPts val="0"/>
              </a:spcAft>
              <a:buNone/>
            </a:pPr>
            <a:r>
              <a:rPr lang="en-US" sz="2800">
                <a:highlight>
                  <a:srgbClr val="FFCD00"/>
                </a:highlight>
                <a:latin typeface="Cambria" charset="0"/>
                <a:ea typeface="Cambria" charset="0"/>
                <a:cs typeface="Cambria" charset="0"/>
              </a:rPr>
              <a:t>Thank you</a:t>
            </a:r>
            <a:r>
              <a:rPr lang="en" sz="2800" i="1" dirty="0">
                <a:highlight>
                  <a:srgbClr val="FFCD00"/>
                </a:highlight>
                <a:latin typeface="Cambria" charset="0"/>
                <a:ea typeface="Cambria" charset="0"/>
                <a:cs typeface="Cambria" charset="0"/>
              </a:rPr>
              <a:t>.</a:t>
            </a:r>
            <a:endParaRPr sz="2800" i="1" dirty="0">
              <a:highlight>
                <a:srgbClr val="FFCD00"/>
              </a:highlight>
              <a:latin typeface="Cambria" charset="0"/>
              <a:ea typeface="Cambria" charset="0"/>
              <a:cs typeface="Cambria" charset="0"/>
            </a:endParaRPr>
          </a:p>
        </p:txBody>
      </p:sp>
      <p:grpSp>
        <p:nvGrpSpPr>
          <p:cNvPr id="6" name="Shape 380"/>
          <p:cNvGrpSpPr/>
          <p:nvPr/>
        </p:nvGrpSpPr>
        <p:grpSpPr>
          <a:xfrm>
            <a:off x="4319138" y="2826519"/>
            <a:ext cx="505722" cy="475767"/>
            <a:chOff x="5972700" y="2330200"/>
            <a:chExt cx="411625" cy="387275"/>
          </a:xfrm>
        </p:grpSpPr>
        <p:sp>
          <p:nvSpPr>
            <p:cNvPr id="7" name="Shape 381"/>
            <p:cNvSpPr/>
            <p:nvPr/>
          </p:nvSpPr>
          <p:spPr>
            <a:xfrm>
              <a:off x="5972700" y="2476950"/>
              <a:ext cx="98050" cy="219825"/>
            </a:xfrm>
            <a:custGeom>
              <a:avLst/>
              <a:gdLst/>
              <a:ahLst/>
              <a:cxnLst/>
              <a:rect l="0" t="0" r="0" b="0"/>
              <a:pathLst>
                <a:path w="3922" h="8793" fill="none" extrusionOk="0">
                  <a:moveTo>
                    <a:pt x="0" y="0"/>
                  </a:moveTo>
                  <a:lnTo>
                    <a:pt x="0" y="8792"/>
                  </a:lnTo>
                  <a:lnTo>
                    <a:pt x="3921" y="8792"/>
                  </a:lnTo>
                  <a:lnTo>
                    <a:pt x="3921" y="0"/>
                  </a:lnTo>
                  <a:lnTo>
                    <a:pt x="0" y="0"/>
                  </a:lnTo>
                  <a:close/>
                  <a:moveTo>
                    <a:pt x="2411" y="2411"/>
                  </a:moveTo>
                  <a:lnTo>
                    <a:pt x="2411" y="2411"/>
                  </a:lnTo>
                  <a:lnTo>
                    <a:pt x="2265" y="2387"/>
                  </a:lnTo>
                  <a:lnTo>
                    <a:pt x="2143" y="2363"/>
                  </a:lnTo>
                  <a:lnTo>
                    <a:pt x="2022" y="2290"/>
                  </a:lnTo>
                  <a:lnTo>
                    <a:pt x="1924" y="2216"/>
                  </a:lnTo>
                  <a:lnTo>
                    <a:pt x="1827" y="2095"/>
                  </a:lnTo>
                  <a:lnTo>
                    <a:pt x="1754" y="1973"/>
                  </a:lnTo>
                  <a:lnTo>
                    <a:pt x="1729" y="1851"/>
                  </a:lnTo>
                  <a:lnTo>
                    <a:pt x="1705" y="1705"/>
                  </a:lnTo>
                  <a:lnTo>
                    <a:pt x="1705" y="1705"/>
                  </a:lnTo>
                  <a:lnTo>
                    <a:pt x="1729" y="1559"/>
                  </a:lnTo>
                  <a:lnTo>
                    <a:pt x="1754" y="1437"/>
                  </a:lnTo>
                  <a:lnTo>
                    <a:pt x="1827" y="1315"/>
                  </a:lnTo>
                  <a:lnTo>
                    <a:pt x="1924" y="1218"/>
                  </a:lnTo>
                  <a:lnTo>
                    <a:pt x="2022" y="1120"/>
                  </a:lnTo>
                  <a:lnTo>
                    <a:pt x="2143" y="1072"/>
                  </a:lnTo>
                  <a:lnTo>
                    <a:pt x="2265" y="1023"/>
                  </a:lnTo>
                  <a:lnTo>
                    <a:pt x="2411" y="999"/>
                  </a:lnTo>
                  <a:lnTo>
                    <a:pt x="2411" y="999"/>
                  </a:lnTo>
                  <a:lnTo>
                    <a:pt x="2557" y="1023"/>
                  </a:lnTo>
                  <a:lnTo>
                    <a:pt x="2679" y="1072"/>
                  </a:lnTo>
                  <a:lnTo>
                    <a:pt x="2801" y="1120"/>
                  </a:lnTo>
                  <a:lnTo>
                    <a:pt x="2898" y="1218"/>
                  </a:lnTo>
                  <a:lnTo>
                    <a:pt x="2996" y="1315"/>
                  </a:lnTo>
                  <a:lnTo>
                    <a:pt x="3069" y="1437"/>
                  </a:lnTo>
                  <a:lnTo>
                    <a:pt x="3093" y="1559"/>
                  </a:lnTo>
                  <a:lnTo>
                    <a:pt x="3118" y="1705"/>
                  </a:lnTo>
                  <a:lnTo>
                    <a:pt x="3118" y="1705"/>
                  </a:lnTo>
                  <a:lnTo>
                    <a:pt x="3093" y="1851"/>
                  </a:lnTo>
                  <a:lnTo>
                    <a:pt x="3069" y="1973"/>
                  </a:lnTo>
                  <a:lnTo>
                    <a:pt x="2996" y="2095"/>
                  </a:lnTo>
                  <a:lnTo>
                    <a:pt x="2898" y="2216"/>
                  </a:lnTo>
                  <a:lnTo>
                    <a:pt x="2801" y="2290"/>
                  </a:lnTo>
                  <a:lnTo>
                    <a:pt x="2679" y="2363"/>
                  </a:lnTo>
                  <a:lnTo>
                    <a:pt x="2557" y="2387"/>
                  </a:lnTo>
                  <a:lnTo>
                    <a:pt x="2411" y="2411"/>
                  </a:lnTo>
                  <a:lnTo>
                    <a:pt x="2411" y="2411"/>
                  </a:lnTo>
                  <a:close/>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8" name="Shape 382"/>
            <p:cNvSpPr/>
            <p:nvPr/>
          </p:nvSpPr>
          <p:spPr>
            <a:xfrm>
              <a:off x="6078025" y="2330200"/>
              <a:ext cx="306300" cy="387275"/>
            </a:xfrm>
            <a:custGeom>
              <a:avLst/>
              <a:gdLst/>
              <a:ahLst/>
              <a:cxnLst/>
              <a:rect l="0" t="0" r="0" b="0"/>
              <a:pathLst>
                <a:path w="12252" h="15491" fill="none" extrusionOk="0">
                  <a:moveTo>
                    <a:pt x="1" y="13396"/>
                  </a:moveTo>
                  <a:lnTo>
                    <a:pt x="1511" y="13396"/>
                  </a:lnTo>
                  <a:lnTo>
                    <a:pt x="1511" y="13396"/>
                  </a:lnTo>
                  <a:lnTo>
                    <a:pt x="1998" y="13639"/>
                  </a:lnTo>
                  <a:lnTo>
                    <a:pt x="2680" y="13932"/>
                  </a:lnTo>
                  <a:lnTo>
                    <a:pt x="3556" y="14273"/>
                  </a:lnTo>
                  <a:lnTo>
                    <a:pt x="4531" y="14638"/>
                  </a:lnTo>
                  <a:lnTo>
                    <a:pt x="5578" y="14955"/>
                  </a:lnTo>
                  <a:lnTo>
                    <a:pt x="6114" y="15101"/>
                  </a:lnTo>
                  <a:lnTo>
                    <a:pt x="6650" y="15222"/>
                  </a:lnTo>
                  <a:lnTo>
                    <a:pt x="7161" y="15344"/>
                  </a:lnTo>
                  <a:lnTo>
                    <a:pt x="7672" y="15417"/>
                  </a:lnTo>
                  <a:lnTo>
                    <a:pt x="8135" y="15466"/>
                  </a:lnTo>
                  <a:lnTo>
                    <a:pt x="8598" y="15490"/>
                  </a:lnTo>
                  <a:lnTo>
                    <a:pt x="8598" y="15490"/>
                  </a:lnTo>
                  <a:lnTo>
                    <a:pt x="9377" y="15490"/>
                  </a:lnTo>
                  <a:lnTo>
                    <a:pt x="9791" y="15466"/>
                  </a:lnTo>
                  <a:lnTo>
                    <a:pt x="10181" y="15417"/>
                  </a:lnTo>
                  <a:lnTo>
                    <a:pt x="10522" y="15320"/>
                  </a:lnTo>
                  <a:lnTo>
                    <a:pt x="10692" y="15271"/>
                  </a:lnTo>
                  <a:lnTo>
                    <a:pt x="10814" y="15222"/>
                  </a:lnTo>
                  <a:lnTo>
                    <a:pt x="10936" y="15149"/>
                  </a:lnTo>
                  <a:lnTo>
                    <a:pt x="11033" y="15052"/>
                  </a:lnTo>
                  <a:lnTo>
                    <a:pt x="11082" y="14955"/>
                  </a:lnTo>
                  <a:lnTo>
                    <a:pt x="11131" y="14833"/>
                  </a:lnTo>
                  <a:lnTo>
                    <a:pt x="11204" y="14126"/>
                  </a:lnTo>
                  <a:lnTo>
                    <a:pt x="11204" y="14126"/>
                  </a:lnTo>
                  <a:lnTo>
                    <a:pt x="11180" y="13956"/>
                  </a:lnTo>
                  <a:lnTo>
                    <a:pt x="11131" y="13810"/>
                  </a:lnTo>
                  <a:lnTo>
                    <a:pt x="11033" y="13664"/>
                  </a:lnTo>
                  <a:lnTo>
                    <a:pt x="10887" y="13542"/>
                  </a:lnTo>
                  <a:lnTo>
                    <a:pt x="10887" y="13542"/>
                  </a:lnTo>
                  <a:lnTo>
                    <a:pt x="11009" y="13518"/>
                  </a:lnTo>
                  <a:lnTo>
                    <a:pt x="11131" y="13469"/>
                  </a:lnTo>
                  <a:lnTo>
                    <a:pt x="11253" y="13420"/>
                  </a:lnTo>
                  <a:lnTo>
                    <a:pt x="11350" y="13323"/>
                  </a:lnTo>
                  <a:lnTo>
                    <a:pt x="11423" y="13225"/>
                  </a:lnTo>
                  <a:lnTo>
                    <a:pt x="11496" y="13104"/>
                  </a:lnTo>
                  <a:lnTo>
                    <a:pt x="11545" y="12957"/>
                  </a:lnTo>
                  <a:lnTo>
                    <a:pt x="11569" y="12836"/>
                  </a:lnTo>
                  <a:lnTo>
                    <a:pt x="11642" y="11959"/>
                  </a:lnTo>
                  <a:lnTo>
                    <a:pt x="11642" y="11959"/>
                  </a:lnTo>
                  <a:lnTo>
                    <a:pt x="11642" y="11837"/>
                  </a:lnTo>
                  <a:lnTo>
                    <a:pt x="11642" y="11740"/>
                  </a:lnTo>
                  <a:lnTo>
                    <a:pt x="11618" y="11618"/>
                  </a:lnTo>
                  <a:lnTo>
                    <a:pt x="11569" y="11521"/>
                  </a:lnTo>
                  <a:lnTo>
                    <a:pt x="11447" y="11350"/>
                  </a:lnTo>
                  <a:lnTo>
                    <a:pt x="11374" y="11277"/>
                  </a:lnTo>
                  <a:lnTo>
                    <a:pt x="11301" y="11204"/>
                  </a:lnTo>
                  <a:lnTo>
                    <a:pt x="11301" y="11204"/>
                  </a:lnTo>
                  <a:lnTo>
                    <a:pt x="11423" y="11180"/>
                  </a:lnTo>
                  <a:lnTo>
                    <a:pt x="11521" y="11131"/>
                  </a:lnTo>
                  <a:lnTo>
                    <a:pt x="11618" y="11058"/>
                  </a:lnTo>
                  <a:lnTo>
                    <a:pt x="11715" y="10960"/>
                  </a:lnTo>
                  <a:lnTo>
                    <a:pt x="11788" y="10863"/>
                  </a:lnTo>
                  <a:lnTo>
                    <a:pt x="11837" y="10766"/>
                  </a:lnTo>
                  <a:lnTo>
                    <a:pt x="11886" y="10644"/>
                  </a:lnTo>
                  <a:lnTo>
                    <a:pt x="11910" y="10498"/>
                  </a:lnTo>
                  <a:lnTo>
                    <a:pt x="11983" y="9645"/>
                  </a:lnTo>
                  <a:lnTo>
                    <a:pt x="11983" y="9645"/>
                  </a:lnTo>
                  <a:lnTo>
                    <a:pt x="11983" y="9523"/>
                  </a:lnTo>
                  <a:lnTo>
                    <a:pt x="11983" y="9402"/>
                  </a:lnTo>
                  <a:lnTo>
                    <a:pt x="11959" y="9280"/>
                  </a:lnTo>
                  <a:lnTo>
                    <a:pt x="11910" y="9182"/>
                  </a:lnTo>
                  <a:lnTo>
                    <a:pt x="11861" y="9085"/>
                  </a:lnTo>
                  <a:lnTo>
                    <a:pt x="11788" y="9012"/>
                  </a:lnTo>
                  <a:lnTo>
                    <a:pt x="11715" y="8939"/>
                  </a:lnTo>
                  <a:lnTo>
                    <a:pt x="11618" y="8866"/>
                  </a:lnTo>
                  <a:lnTo>
                    <a:pt x="11618" y="8866"/>
                  </a:lnTo>
                  <a:lnTo>
                    <a:pt x="11715" y="8841"/>
                  </a:lnTo>
                  <a:lnTo>
                    <a:pt x="11813" y="8768"/>
                  </a:lnTo>
                  <a:lnTo>
                    <a:pt x="11910" y="8695"/>
                  </a:lnTo>
                  <a:lnTo>
                    <a:pt x="11983" y="8622"/>
                  </a:lnTo>
                  <a:lnTo>
                    <a:pt x="12056" y="8525"/>
                  </a:lnTo>
                  <a:lnTo>
                    <a:pt x="12105" y="8427"/>
                  </a:lnTo>
                  <a:lnTo>
                    <a:pt x="12129" y="8306"/>
                  </a:lnTo>
                  <a:lnTo>
                    <a:pt x="12154" y="8184"/>
                  </a:lnTo>
                  <a:lnTo>
                    <a:pt x="12251" y="7307"/>
                  </a:lnTo>
                  <a:lnTo>
                    <a:pt x="12251" y="7307"/>
                  </a:lnTo>
                  <a:lnTo>
                    <a:pt x="12227" y="7185"/>
                  </a:lnTo>
                  <a:lnTo>
                    <a:pt x="12202" y="7064"/>
                  </a:lnTo>
                  <a:lnTo>
                    <a:pt x="12154" y="6966"/>
                  </a:lnTo>
                  <a:lnTo>
                    <a:pt x="12105" y="6869"/>
                  </a:lnTo>
                  <a:lnTo>
                    <a:pt x="12032" y="6771"/>
                  </a:lnTo>
                  <a:lnTo>
                    <a:pt x="11935" y="6698"/>
                  </a:lnTo>
                  <a:lnTo>
                    <a:pt x="11715" y="6552"/>
                  </a:lnTo>
                  <a:lnTo>
                    <a:pt x="11472" y="6430"/>
                  </a:lnTo>
                  <a:lnTo>
                    <a:pt x="11180" y="6333"/>
                  </a:lnTo>
                  <a:lnTo>
                    <a:pt x="10863" y="6260"/>
                  </a:lnTo>
                  <a:lnTo>
                    <a:pt x="10546" y="6211"/>
                  </a:lnTo>
                  <a:lnTo>
                    <a:pt x="10546" y="6211"/>
                  </a:lnTo>
                  <a:lnTo>
                    <a:pt x="9864" y="6114"/>
                  </a:lnTo>
                  <a:lnTo>
                    <a:pt x="8817" y="6016"/>
                  </a:lnTo>
                  <a:lnTo>
                    <a:pt x="7575" y="5943"/>
                  </a:lnTo>
                  <a:lnTo>
                    <a:pt x="6309" y="5870"/>
                  </a:lnTo>
                  <a:lnTo>
                    <a:pt x="6309" y="5870"/>
                  </a:lnTo>
                  <a:lnTo>
                    <a:pt x="6479" y="5578"/>
                  </a:lnTo>
                  <a:lnTo>
                    <a:pt x="6625" y="5237"/>
                  </a:lnTo>
                  <a:lnTo>
                    <a:pt x="6771" y="4872"/>
                  </a:lnTo>
                  <a:lnTo>
                    <a:pt x="6869" y="4482"/>
                  </a:lnTo>
                  <a:lnTo>
                    <a:pt x="6966" y="4092"/>
                  </a:lnTo>
                  <a:lnTo>
                    <a:pt x="7064" y="3678"/>
                  </a:lnTo>
                  <a:lnTo>
                    <a:pt x="7161" y="2875"/>
                  </a:lnTo>
                  <a:lnTo>
                    <a:pt x="7234" y="2144"/>
                  </a:lnTo>
                  <a:lnTo>
                    <a:pt x="7283" y="1535"/>
                  </a:lnTo>
                  <a:lnTo>
                    <a:pt x="7283" y="975"/>
                  </a:lnTo>
                  <a:lnTo>
                    <a:pt x="7283" y="975"/>
                  </a:lnTo>
                  <a:lnTo>
                    <a:pt x="7283" y="804"/>
                  </a:lnTo>
                  <a:lnTo>
                    <a:pt x="7210" y="609"/>
                  </a:lnTo>
                  <a:lnTo>
                    <a:pt x="7137" y="463"/>
                  </a:lnTo>
                  <a:lnTo>
                    <a:pt x="7015" y="317"/>
                  </a:lnTo>
                  <a:lnTo>
                    <a:pt x="6869" y="171"/>
                  </a:lnTo>
                  <a:lnTo>
                    <a:pt x="6698" y="98"/>
                  </a:lnTo>
                  <a:lnTo>
                    <a:pt x="6503" y="25"/>
                  </a:lnTo>
                  <a:lnTo>
                    <a:pt x="6309" y="1"/>
                  </a:lnTo>
                  <a:lnTo>
                    <a:pt x="6309" y="1"/>
                  </a:lnTo>
                  <a:lnTo>
                    <a:pt x="5943" y="25"/>
                  </a:lnTo>
                  <a:lnTo>
                    <a:pt x="5700" y="74"/>
                  </a:lnTo>
                  <a:lnTo>
                    <a:pt x="5505" y="147"/>
                  </a:lnTo>
                  <a:lnTo>
                    <a:pt x="5359" y="220"/>
                  </a:lnTo>
                  <a:lnTo>
                    <a:pt x="5359" y="220"/>
                  </a:lnTo>
                  <a:lnTo>
                    <a:pt x="4969" y="1462"/>
                  </a:lnTo>
                  <a:lnTo>
                    <a:pt x="4774" y="2022"/>
                  </a:lnTo>
                  <a:lnTo>
                    <a:pt x="4579" y="2534"/>
                  </a:lnTo>
                  <a:lnTo>
                    <a:pt x="4385" y="2996"/>
                  </a:lnTo>
                  <a:lnTo>
                    <a:pt x="4190" y="3386"/>
                  </a:lnTo>
                  <a:lnTo>
                    <a:pt x="4019" y="3678"/>
                  </a:lnTo>
                  <a:lnTo>
                    <a:pt x="3873" y="3922"/>
                  </a:lnTo>
                  <a:lnTo>
                    <a:pt x="3873" y="3922"/>
                  </a:lnTo>
                  <a:lnTo>
                    <a:pt x="3654" y="4141"/>
                  </a:lnTo>
                  <a:lnTo>
                    <a:pt x="3313" y="4482"/>
                  </a:lnTo>
                  <a:lnTo>
                    <a:pt x="2509" y="5237"/>
                  </a:lnTo>
                  <a:lnTo>
                    <a:pt x="1438" y="6211"/>
                  </a:lnTo>
                  <a:lnTo>
                    <a:pt x="1" y="621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Shape 110"/>
          <p:cNvSpPr txBox="1">
            <a:spLocks noGrp="1"/>
          </p:cNvSpPr>
          <p:nvPr>
            <p:ph type="title"/>
          </p:nvPr>
        </p:nvSpPr>
        <p:spPr>
          <a:xfrm>
            <a:off x="1381250" y="919839"/>
            <a:ext cx="3878400" cy="435600"/>
          </a:xfrm>
          <a:prstGeom prst="rect">
            <a:avLst/>
          </a:prstGeom>
          <a:noFill/>
        </p:spPr>
        <p:txBody>
          <a:bodyPr spcFirstLastPara="1" wrap="square" lIns="91425" tIns="91425" rIns="91425" bIns="91425" anchor="ctr" anchorCtr="0">
            <a:noAutofit/>
          </a:bodyPr>
          <a:lstStyle/>
          <a:p>
            <a:pPr marL="0" lvl="0" indent="0">
              <a:spcBef>
                <a:spcPts val="0"/>
              </a:spcBef>
              <a:spcAft>
                <a:spcPts val="0"/>
              </a:spcAft>
              <a:buNone/>
            </a:pPr>
            <a:r>
              <a:rPr lang="en-US" dirty="0"/>
              <a:t>Presentation </a:t>
            </a:r>
            <a:r>
              <a:rPr lang="en-US" dirty="0">
                <a:highlight>
                  <a:srgbClr val="FFCD00"/>
                </a:highlight>
              </a:rPr>
              <a:t>outline</a:t>
            </a:r>
            <a:endParaRPr dirty="0">
              <a:highlight>
                <a:srgbClr val="FFCD00"/>
              </a:highlight>
            </a:endParaRPr>
          </a:p>
        </p:txBody>
      </p:sp>
      <p:sp>
        <p:nvSpPr>
          <p:cNvPr id="111" name="Shape 111"/>
          <p:cNvSpPr txBox="1">
            <a:spLocks noGrp="1"/>
          </p:cNvSpPr>
          <p:nvPr>
            <p:ph type="body" idx="1"/>
          </p:nvPr>
        </p:nvSpPr>
        <p:spPr>
          <a:xfrm>
            <a:off x="1381250" y="1616470"/>
            <a:ext cx="6809700" cy="3112200"/>
          </a:xfrm>
          <a:prstGeom prst="rect">
            <a:avLst/>
          </a:prstGeom>
        </p:spPr>
        <p:txBody>
          <a:bodyPr spcFirstLastPara="1" wrap="square" lIns="91425" tIns="91425" rIns="91425" bIns="91425" anchor="t" anchorCtr="0">
            <a:noAutofit/>
          </a:bodyPr>
          <a:lstStyle/>
          <a:p>
            <a:pPr marL="457200" lvl="0" indent="-381000" rtl="0">
              <a:spcBef>
                <a:spcPts val="600"/>
              </a:spcBef>
              <a:spcAft>
                <a:spcPts val="0"/>
              </a:spcAft>
              <a:buSzPts val="2400"/>
              <a:buChar char="◉"/>
            </a:pPr>
            <a:r>
              <a:rPr lang="fr-FR" sz="2000" b="1" dirty="0"/>
              <a:t>The </a:t>
            </a:r>
            <a:r>
              <a:rPr lang="fr-FR" sz="2000" b="1" dirty="0" err="1"/>
              <a:t>Bank’s</a:t>
            </a:r>
            <a:r>
              <a:rPr lang="fr-FR" sz="2000" b="1" dirty="0"/>
              <a:t> </a:t>
            </a:r>
            <a:r>
              <a:rPr lang="fr-FR" sz="2000" b="1" dirty="0" err="1"/>
              <a:t>Strategy</a:t>
            </a:r>
            <a:r>
              <a:rPr lang="fr-FR" sz="2000" b="1" dirty="0"/>
              <a:t> for the New Deal on </a:t>
            </a:r>
            <a:r>
              <a:rPr lang="fr-FR" sz="2000" b="1" dirty="0" err="1"/>
              <a:t>Energy</a:t>
            </a:r>
            <a:r>
              <a:rPr lang="fr-FR" sz="2000" b="1" dirty="0"/>
              <a:t> for </a:t>
            </a:r>
            <a:r>
              <a:rPr lang="fr-FR" sz="2000" b="1" dirty="0" err="1"/>
              <a:t>Africa</a:t>
            </a:r>
            <a:endParaRPr sz="2000" b="1" dirty="0"/>
          </a:p>
          <a:p>
            <a:pPr marL="457200" lvl="0" indent="-381000" rtl="0">
              <a:spcBef>
                <a:spcPts val="0"/>
              </a:spcBef>
              <a:spcAft>
                <a:spcPts val="0"/>
              </a:spcAft>
              <a:buSzPts val="2400"/>
              <a:buChar char="◉"/>
            </a:pPr>
            <a:r>
              <a:rPr lang="en-US" sz="2000" dirty="0"/>
              <a:t>Africa’s renewable energy potential and operations supported by the African Development Bank</a:t>
            </a:r>
          </a:p>
          <a:p>
            <a:pPr lvl="0">
              <a:spcBef>
                <a:spcPts val="0"/>
              </a:spcBef>
            </a:pPr>
            <a:r>
              <a:rPr lang="en-US" sz="2000" dirty="0"/>
              <a:t>African Development </a:t>
            </a:r>
            <a:r>
              <a:rPr lang="en-US" sz="2000" dirty="0" smtClean="0"/>
              <a:t>Bank special </a:t>
            </a:r>
            <a:r>
              <a:rPr lang="en-US" sz="2000" dirty="0"/>
              <a:t>instruments and initiatives in renewable energy</a:t>
            </a:r>
          </a:p>
          <a:p>
            <a:pPr lvl="0">
              <a:spcBef>
                <a:spcPts val="0"/>
              </a:spcBef>
            </a:pPr>
            <a:r>
              <a:rPr lang="en-US" sz="2000" dirty="0"/>
              <a:t>2018 Outlook: renewable energy projects and initiatives </a:t>
            </a:r>
          </a:p>
          <a:p>
            <a:pPr marL="0" lvl="0" indent="0">
              <a:spcBef>
                <a:spcPts val="600"/>
              </a:spcBef>
              <a:spcAft>
                <a:spcPts val="0"/>
              </a:spcAft>
              <a:buNone/>
            </a:pPr>
            <a:endParaRPr sz="2000" dirty="0"/>
          </a:p>
        </p:txBody>
      </p:sp>
      <p:grpSp>
        <p:nvGrpSpPr>
          <p:cNvPr id="9" name="Shape 413"/>
          <p:cNvGrpSpPr/>
          <p:nvPr/>
        </p:nvGrpSpPr>
        <p:grpSpPr>
          <a:xfrm>
            <a:off x="895890" y="982629"/>
            <a:ext cx="217750" cy="284040"/>
            <a:chOff x="590250" y="244200"/>
            <a:chExt cx="407975" cy="532175"/>
          </a:xfrm>
        </p:grpSpPr>
        <p:sp>
          <p:nvSpPr>
            <p:cNvPr id="10" name="Shape 414"/>
            <p:cNvSpPr/>
            <p:nvPr/>
          </p:nvSpPr>
          <p:spPr>
            <a:xfrm>
              <a:off x="623125" y="313625"/>
              <a:ext cx="375100" cy="462750"/>
            </a:xfrm>
            <a:custGeom>
              <a:avLst/>
              <a:gdLst/>
              <a:ahLst/>
              <a:cxnLst/>
              <a:rect l="0" t="0" r="0" b="0"/>
              <a:pathLst>
                <a:path w="15004" h="18510" fill="none" extrusionOk="0">
                  <a:moveTo>
                    <a:pt x="1" y="17536"/>
                  </a:moveTo>
                  <a:lnTo>
                    <a:pt x="1" y="17536"/>
                  </a:lnTo>
                  <a:lnTo>
                    <a:pt x="1" y="17536"/>
                  </a:lnTo>
                  <a:lnTo>
                    <a:pt x="25" y="17682"/>
                  </a:lnTo>
                  <a:lnTo>
                    <a:pt x="49" y="17852"/>
                  </a:lnTo>
                  <a:lnTo>
                    <a:pt x="123" y="18023"/>
                  </a:lnTo>
                  <a:lnTo>
                    <a:pt x="220" y="18193"/>
                  </a:lnTo>
                  <a:lnTo>
                    <a:pt x="293" y="18291"/>
                  </a:lnTo>
                  <a:lnTo>
                    <a:pt x="390" y="18364"/>
                  </a:lnTo>
                  <a:lnTo>
                    <a:pt x="488" y="18412"/>
                  </a:lnTo>
                  <a:lnTo>
                    <a:pt x="610" y="18461"/>
                  </a:lnTo>
                  <a:lnTo>
                    <a:pt x="756" y="18510"/>
                  </a:lnTo>
                  <a:lnTo>
                    <a:pt x="926" y="18510"/>
                  </a:lnTo>
                  <a:lnTo>
                    <a:pt x="14468" y="18510"/>
                  </a:lnTo>
                  <a:lnTo>
                    <a:pt x="14468" y="18510"/>
                  </a:lnTo>
                  <a:lnTo>
                    <a:pt x="14541" y="18510"/>
                  </a:lnTo>
                  <a:lnTo>
                    <a:pt x="14614" y="18485"/>
                  </a:lnTo>
                  <a:lnTo>
                    <a:pt x="14736" y="18412"/>
                  </a:lnTo>
                  <a:lnTo>
                    <a:pt x="14833" y="18291"/>
                  </a:lnTo>
                  <a:lnTo>
                    <a:pt x="14906" y="18144"/>
                  </a:lnTo>
                  <a:lnTo>
                    <a:pt x="14955" y="17974"/>
                  </a:lnTo>
                  <a:lnTo>
                    <a:pt x="14979" y="17779"/>
                  </a:lnTo>
                  <a:lnTo>
                    <a:pt x="15003" y="17438"/>
                  </a:lnTo>
                  <a:lnTo>
                    <a:pt x="15003" y="487"/>
                  </a:lnTo>
                  <a:lnTo>
                    <a:pt x="15003" y="487"/>
                  </a:lnTo>
                  <a:lnTo>
                    <a:pt x="15003" y="341"/>
                  </a:lnTo>
                  <a:lnTo>
                    <a:pt x="14979" y="219"/>
                  </a:lnTo>
                  <a:lnTo>
                    <a:pt x="14955" y="146"/>
                  </a:lnTo>
                  <a:lnTo>
                    <a:pt x="14906" y="73"/>
                  </a:lnTo>
                  <a:lnTo>
                    <a:pt x="14833" y="49"/>
                  </a:lnTo>
                  <a:lnTo>
                    <a:pt x="14736" y="24"/>
                  </a:lnTo>
                  <a:lnTo>
                    <a:pt x="14468"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 name="Shape 415"/>
            <p:cNvSpPr/>
            <p:nvPr/>
          </p:nvSpPr>
          <p:spPr>
            <a:xfrm>
              <a:off x="590250" y="269775"/>
              <a:ext cx="377525" cy="462775"/>
            </a:xfrm>
            <a:custGeom>
              <a:avLst/>
              <a:gdLst/>
              <a:ahLst/>
              <a:cxnLst/>
              <a:rect l="0" t="0" r="0" b="0"/>
              <a:pathLst>
                <a:path w="15101" h="18511" fill="none" extrusionOk="0">
                  <a:moveTo>
                    <a:pt x="14321" y="0"/>
                  </a:moveTo>
                  <a:lnTo>
                    <a:pt x="780" y="0"/>
                  </a:lnTo>
                  <a:lnTo>
                    <a:pt x="780" y="0"/>
                  </a:lnTo>
                  <a:lnTo>
                    <a:pt x="634" y="25"/>
                  </a:lnTo>
                  <a:lnTo>
                    <a:pt x="488" y="74"/>
                  </a:lnTo>
                  <a:lnTo>
                    <a:pt x="342" y="122"/>
                  </a:lnTo>
                  <a:lnTo>
                    <a:pt x="220" y="220"/>
                  </a:lnTo>
                  <a:lnTo>
                    <a:pt x="122" y="341"/>
                  </a:lnTo>
                  <a:lnTo>
                    <a:pt x="74" y="488"/>
                  </a:lnTo>
                  <a:lnTo>
                    <a:pt x="25" y="634"/>
                  </a:lnTo>
                  <a:lnTo>
                    <a:pt x="1" y="780"/>
                  </a:lnTo>
                  <a:lnTo>
                    <a:pt x="1" y="17731"/>
                  </a:lnTo>
                  <a:lnTo>
                    <a:pt x="1" y="17731"/>
                  </a:lnTo>
                  <a:lnTo>
                    <a:pt x="25" y="17877"/>
                  </a:lnTo>
                  <a:lnTo>
                    <a:pt x="74" y="18023"/>
                  </a:lnTo>
                  <a:lnTo>
                    <a:pt x="122" y="18169"/>
                  </a:lnTo>
                  <a:lnTo>
                    <a:pt x="220" y="18291"/>
                  </a:lnTo>
                  <a:lnTo>
                    <a:pt x="342" y="18388"/>
                  </a:lnTo>
                  <a:lnTo>
                    <a:pt x="488" y="18437"/>
                  </a:lnTo>
                  <a:lnTo>
                    <a:pt x="634" y="18486"/>
                  </a:lnTo>
                  <a:lnTo>
                    <a:pt x="780" y="18510"/>
                  </a:lnTo>
                  <a:lnTo>
                    <a:pt x="14321" y="18510"/>
                  </a:lnTo>
                  <a:lnTo>
                    <a:pt x="14321" y="18510"/>
                  </a:lnTo>
                  <a:lnTo>
                    <a:pt x="14467" y="18486"/>
                  </a:lnTo>
                  <a:lnTo>
                    <a:pt x="14614" y="18437"/>
                  </a:lnTo>
                  <a:lnTo>
                    <a:pt x="14760" y="18388"/>
                  </a:lnTo>
                  <a:lnTo>
                    <a:pt x="14881" y="18291"/>
                  </a:lnTo>
                  <a:lnTo>
                    <a:pt x="14979" y="18169"/>
                  </a:lnTo>
                  <a:lnTo>
                    <a:pt x="15028" y="18023"/>
                  </a:lnTo>
                  <a:lnTo>
                    <a:pt x="15076" y="17877"/>
                  </a:lnTo>
                  <a:lnTo>
                    <a:pt x="15101" y="17731"/>
                  </a:lnTo>
                  <a:lnTo>
                    <a:pt x="15101" y="780"/>
                  </a:lnTo>
                  <a:lnTo>
                    <a:pt x="15101" y="780"/>
                  </a:lnTo>
                  <a:lnTo>
                    <a:pt x="15076" y="634"/>
                  </a:lnTo>
                  <a:lnTo>
                    <a:pt x="15028" y="488"/>
                  </a:lnTo>
                  <a:lnTo>
                    <a:pt x="14979" y="341"/>
                  </a:lnTo>
                  <a:lnTo>
                    <a:pt x="14881" y="220"/>
                  </a:lnTo>
                  <a:lnTo>
                    <a:pt x="14760" y="122"/>
                  </a:lnTo>
                  <a:lnTo>
                    <a:pt x="14614" y="74"/>
                  </a:lnTo>
                  <a:lnTo>
                    <a:pt x="14467" y="25"/>
                  </a:lnTo>
                  <a:lnTo>
                    <a:pt x="14321" y="0"/>
                  </a:lnTo>
                  <a:lnTo>
                    <a:pt x="14321"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2" name="Shape 416"/>
            <p:cNvSpPr/>
            <p:nvPr/>
          </p:nvSpPr>
          <p:spPr>
            <a:xfrm>
              <a:off x="796650" y="274025"/>
              <a:ext cx="45100" cy="45100"/>
            </a:xfrm>
            <a:custGeom>
              <a:avLst/>
              <a:gdLst/>
              <a:ahLst/>
              <a:cxnLst/>
              <a:rect l="0" t="0" r="0" b="0"/>
              <a:pathLst>
                <a:path w="1804" h="1804" fill="none" extrusionOk="0">
                  <a:moveTo>
                    <a:pt x="902" y="1"/>
                  </a:moveTo>
                  <a:lnTo>
                    <a:pt x="902" y="1"/>
                  </a:lnTo>
                  <a:lnTo>
                    <a:pt x="1073" y="25"/>
                  </a:lnTo>
                  <a:lnTo>
                    <a:pt x="1243" y="74"/>
                  </a:lnTo>
                  <a:lnTo>
                    <a:pt x="1414"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4" y="1657"/>
                  </a:lnTo>
                  <a:lnTo>
                    <a:pt x="1243" y="1730"/>
                  </a:lnTo>
                  <a:lnTo>
                    <a:pt x="1073" y="1779"/>
                  </a:lnTo>
                  <a:lnTo>
                    <a:pt x="902" y="1803"/>
                  </a:lnTo>
                  <a:lnTo>
                    <a:pt x="902" y="1803"/>
                  </a:lnTo>
                  <a:lnTo>
                    <a:pt x="732" y="1779"/>
                  </a:lnTo>
                  <a:lnTo>
                    <a:pt x="561" y="1730"/>
                  </a:lnTo>
                  <a:lnTo>
                    <a:pt x="391"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1" y="147"/>
                  </a:lnTo>
                  <a:lnTo>
                    <a:pt x="561" y="74"/>
                  </a:lnTo>
                  <a:lnTo>
                    <a:pt x="732" y="25"/>
                  </a:lnTo>
                  <a:lnTo>
                    <a:pt x="902" y="1"/>
                  </a:lnTo>
                  <a:lnTo>
                    <a:pt x="902"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 name="Shape 417"/>
            <p:cNvSpPr/>
            <p:nvPr/>
          </p:nvSpPr>
          <p:spPr>
            <a:xfrm>
              <a:off x="713850" y="274025"/>
              <a:ext cx="45075" cy="45100"/>
            </a:xfrm>
            <a:custGeom>
              <a:avLst/>
              <a:gdLst/>
              <a:ahLst/>
              <a:cxnLst/>
              <a:rect l="0" t="0" r="0" b="0"/>
              <a:pathLst>
                <a:path w="1803" h="1804" fill="none" extrusionOk="0">
                  <a:moveTo>
                    <a:pt x="902" y="1"/>
                  </a:moveTo>
                  <a:lnTo>
                    <a:pt x="902" y="1"/>
                  </a:lnTo>
                  <a:lnTo>
                    <a:pt x="1072" y="25"/>
                  </a:lnTo>
                  <a:lnTo>
                    <a:pt x="1243" y="74"/>
                  </a:lnTo>
                  <a:lnTo>
                    <a:pt x="1413"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0" y="147"/>
                  </a:lnTo>
                  <a:lnTo>
                    <a:pt x="561" y="74"/>
                  </a:lnTo>
                  <a:lnTo>
                    <a:pt x="731" y="25"/>
                  </a:lnTo>
                  <a:lnTo>
                    <a:pt x="902" y="1"/>
                  </a:lnTo>
                  <a:lnTo>
                    <a:pt x="902"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 name="Shape 418"/>
            <p:cNvSpPr/>
            <p:nvPr/>
          </p:nvSpPr>
          <p:spPr>
            <a:xfrm>
              <a:off x="631050" y="274025"/>
              <a:ext cx="45075" cy="45100"/>
            </a:xfrm>
            <a:custGeom>
              <a:avLst/>
              <a:gdLst/>
              <a:ahLst/>
              <a:cxnLst/>
              <a:rect l="0" t="0" r="0" b="0"/>
              <a:pathLst>
                <a:path w="1803" h="1804" fill="none" extrusionOk="0">
                  <a:moveTo>
                    <a:pt x="0" y="902"/>
                  </a:moveTo>
                  <a:lnTo>
                    <a:pt x="0" y="902"/>
                  </a:lnTo>
                  <a:lnTo>
                    <a:pt x="25" y="732"/>
                  </a:lnTo>
                  <a:lnTo>
                    <a:pt x="73" y="561"/>
                  </a:lnTo>
                  <a:lnTo>
                    <a:pt x="147" y="391"/>
                  </a:lnTo>
                  <a:lnTo>
                    <a:pt x="268" y="269"/>
                  </a:lnTo>
                  <a:lnTo>
                    <a:pt x="390" y="147"/>
                  </a:lnTo>
                  <a:lnTo>
                    <a:pt x="561" y="74"/>
                  </a:lnTo>
                  <a:lnTo>
                    <a:pt x="731" y="25"/>
                  </a:lnTo>
                  <a:lnTo>
                    <a:pt x="902" y="1"/>
                  </a:lnTo>
                  <a:lnTo>
                    <a:pt x="902" y="1"/>
                  </a:lnTo>
                  <a:lnTo>
                    <a:pt x="1072" y="25"/>
                  </a:lnTo>
                  <a:lnTo>
                    <a:pt x="1243" y="74"/>
                  </a:lnTo>
                  <a:lnTo>
                    <a:pt x="1413" y="147"/>
                  </a:lnTo>
                  <a:lnTo>
                    <a:pt x="1535" y="269"/>
                  </a:lnTo>
                  <a:lnTo>
                    <a:pt x="1657" y="391"/>
                  </a:lnTo>
                  <a:lnTo>
                    <a:pt x="1730" y="561"/>
                  </a:lnTo>
                  <a:lnTo>
                    <a:pt x="1778" y="732"/>
                  </a:lnTo>
                  <a:lnTo>
                    <a:pt x="1803" y="902"/>
                  </a:lnTo>
                  <a:lnTo>
                    <a:pt x="1803" y="902"/>
                  </a:lnTo>
                  <a:lnTo>
                    <a:pt x="1778"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8" y="1535"/>
                  </a:lnTo>
                  <a:lnTo>
                    <a:pt x="147" y="1414"/>
                  </a:lnTo>
                  <a:lnTo>
                    <a:pt x="73" y="1243"/>
                  </a:lnTo>
                  <a:lnTo>
                    <a:pt x="25" y="1073"/>
                  </a:lnTo>
                  <a:lnTo>
                    <a:pt x="0" y="902"/>
                  </a:lnTo>
                  <a:lnTo>
                    <a:pt x="0" y="902"/>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5" name="Shape 419"/>
            <p:cNvSpPr/>
            <p:nvPr/>
          </p:nvSpPr>
          <p:spPr>
            <a:xfrm>
              <a:off x="649925" y="590050"/>
              <a:ext cx="133975" cy="25"/>
            </a:xfrm>
            <a:custGeom>
              <a:avLst/>
              <a:gdLst/>
              <a:ahLst/>
              <a:cxnLst/>
              <a:rect l="0" t="0" r="0" b="0"/>
              <a:pathLst>
                <a:path w="5359" h="1" fill="none" extrusionOk="0">
                  <a:moveTo>
                    <a:pt x="5358" y="0"/>
                  </a:moveTo>
                  <a:lnTo>
                    <a:pt x="0"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 name="Shape 420"/>
            <p:cNvSpPr/>
            <p:nvPr/>
          </p:nvSpPr>
          <p:spPr>
            <a:xfrm>
              <a:off x="649925" y="5346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 name="Shape 421"/>
            <p:cNvSpPr/>
            <p:nvPr/>
          </p:nvSpPr>
          <p:spPr>
            <a:xfrm>
              <a:off x="649925" y="4798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8" name="Shape 422"/>
            <p:cNvSpPr/>
            <p:nvPr/>
          </p:nvSpPr>
          <p:spPr>
            <a:xfrm>
              <a:off x="649925" y="4244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Shape 423"/>
            <p:cNvSpPr/>
            <p:nvPr/>
          </p:nvSpPr>
          <p:spPr>
            <a:xfrm>
              <a:off x="879475" y="274025"/>
              <a:ext cx="45075" cy="45100"/>
            </a:xfrm>
            <a:custGeom>
              <a:avLst/>
              <a:gdLst/>
              <a:ahLst/>
              <a:cxnLst/>
              <a:rect l="0" t="0" r="0" b="0"/>
              <a:pathLst>
                <a:path w="1803" h="1804" fill="none" extrusionOk="0">
                  <a:moveTo>
                    <a:pt x="901" y="1803"/>
                  </a:moveTo>
                  <a:lnTo>
                    <a:pt x="901" y="1803"/>
                  </a:lnTo>
                  <a:lnTo>
                    <a:pt x="731" y="1779"/>
                  </a:lnTo>
                  <a:lnTo>
                    <a:pt x="560" y="1730"/>
                  </a:lnTo>
                  <a:lnTo>
                    <a:pt x="390" y="1657"/>
                  </a:lnTo>
                  <a:lnTo>
                    <a:pt x="268" y="1535"/>
                  </a:lnTo>
                  <a:lnTo>
                    <a:pt x="146" y="1414"/>
                  </a:lnTo>
                  <a:lnTo>
                    <a:pt x="73" y="1243"/>
                  </a:lnTo>
                  <a:lnTo>
                    <a:pt x="25" y="1073"/>
                  </a:lnTo>
                  <a:lnTo>
                    <a:pt x="0" y="902"/>
                  </a:lnTo>
                  <a:lnTo>
                    <a:pt x="0" y="902"/>
                  </a:lnTo>
                  <a:lnTo>
                    <a:pt x="25" y="732"/>
                  </a:lnTo>
                  <a:lnTo>
                    <a:pt x="73" y="561"/>
                  </a:lnTo>
                  <a:lnTo>
                    <a:pt x="146" y="391"/>
                  </a:lnTo>
                  <a:lnTo>
                    <a:pt x="268" y="269"/>
                  </a:lnTo>
                  <a:lnTo>
                    <a:pt x="390" y="147"/>
                  </a:lnTo>
                  <a:lnTo>
                    <a:pt x="560" y="74"/>
                  </a:lnTo>
                  <a:lnTo>
                    <a:pt x="731" y="25"/>
                  </a:lnTo>
                  <a:lnTo>
                    <a:pt x="901" y="1"/>
                  </a:lnTo>
                  <a:lnTo>
                    <a:pt x="901" y="1"/>
                  </a:lnTo>
                  <a:lnTo>
                    <a:pt x="1072" y="25"/>
                  </a:lnTo>
                  <a:lnTo>
                    <a:pt x="1242" y="74"/>
                  </a:lnTo>
                  <a:lnTo>
                    <a:pt x="1413" y="147"/>
                  </a:lnTo>
                  <a:lnTo>
                    <a:pt x="1535" y="269"/>
                  </a:lnTo>
                  <a:lnTo>
                    <a:pt x="1656" y="391"/>
                  </a:lnTo>
                  <a:lnTo>
                    <a:pt x="1729" y="561"/>
                  </a:lnTo>
                  <a:lnTo>
                    <a:pt x="1778" y="732"/>
                  </a:lnTo>
                  <a:lnTo>
                    <a:pt x="1802" y="902"/>
                  </a:lnTo>
                  <a:lnTo>
                    <a:pt x="1802" y="902"/>
                  </a:lnTo>
                  <a:lnTo>
                    <a:pt x="1778" y="1073"/>
                  </a:lnTo>
                  <a:lnTo>
                    <a:pt x="1729" y="1243"/>
                  </a:lnTo>
                  <a:lnTo>
                    <a:pt x="1656" y="1414"/>
                  </a:lnTo>
                  <a:lnTo>
                    <a:pt x="1535" y="1535"/>
                  </a:lnTo>
                  <a:lnTo>
                    <a:pt x="1413" y="1657"/>
                  </a:lnTo>
                  <a:lnTo>
                    <a:pt x="1242" y="1730"/>
                  </a:lnTo>
                  <a:lnTo>
                    <a:pt x="1072" y="1779"/>
                  </a:lnTo>
                  <a:lnTo>
                    <a:pt x="901" y="1803"/>
                  </a:lnTo>
                  <a:lnTo>
                    <a:pt x="901" y="1803"/>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 name="Shape 424"/>
            <p:cNvSpPr/>
            <p:nvPr/>
          </p:nvSpPr>
          <p:spPr>
            <a:xfrm>
              <a:off x="654800" y="244200"/>
              <a:ext cx="25" cy="51175"/>
            </a:xfrm>
            <a:custGeom>
              <a:avLst/>
              <a:gdLst/>
              <a:ahLst/>
              <a:cxnLst/>
              <a:rect l="0" t="0" r="0" b="0"/>
              <a:pathLst>
                <a:path w="1" h="2047" fill="none" extrusionOk="0">
                  <a:moveTo>
                    <a:pt x="0" y="1"/>
                  </a:moveTo>
                  <a:lnTo>
                    <a:pt x="0"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1" name="Shape 425"/>
            <p:cNvSpPr/>
            <p:nvPr/>
          </p:nvSpPr>
          <p:spPr>
            <a:xfrm>
              <a:off x="737600" y="244200"/>
              <a:ext cx="25" cy="51175"/>
            </a:xfrm>
            <a:custGeom>
              <a:avLst/>
              <a:gdLst/>
              <a:ahLst/>
              <a:cxnLst/>
              <a:rect l="0" t="0" r="0" b="0"/>
              <a:pathLst>
                <a:path w="1" h="2047" fill="none" extrusionOk="0">
                  <a:moveTo>
                    <a:pt x="1" y="1"/>
                  </a:moveTo>
                  <a:lnTo>
                    <a:pt x="1"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Shape 426"/>
            <p:cNvSpPr/>
            <p:nvPr/>
          </p:nvSpPr>
          <p:spPr>
            <a:xfrm>
              <a:off x="820400" y="244200"/>
              <a:ext cx="25" cy="51175"/>
            </a:xfrm>
            <a:custGeom>
              <a:avLst/>
              <a:gdLst/>
              <a:ahLst/>
              <a:cxnLst/>
              <a:rect l="0" t="0" r="0" b="0"/>
              <a:pathLst>
                <a:path w="1" h="2047" fill="none" extrusionOk="0">
                  <a:moveTo>
                    <a:pt x="1" y="1"/>
                  </a:moveTo>
                  <a:lnTo>
                    <a:pt x="1"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Shape 427"/>
            <p:cNvSpPr/>
            <p:nvPr/>
          </p:nvSpPr>
          <p:spPr>
            <a:xfrm>
              <a:off x="903225" y="244200"/>
              <a:ext cx="25" cy="51175"/>
            </a:xfrm>
            <a:custGeom>
              <a:avLst/>
              <a:gdLst/>
              <a:ahLst/>
              <a:cxnLst/>
              <a:rect l="0" t="0" r="0" b="0"/>
              <a:pathLst>
                <a:path w="1" h="2047" fill="none" extrusionOk="0">
                  <a:moveTo>
                    <a:pt x="0" y="1"/>
                  </a:moveTo>
                  <a:lnTo>
                    <a:pt x="0"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grpSp>
    </p:spTree>
    <p:extLst>
      <p:ext uri="{BB962C8B-B14F-4D97-AF65-F5344CB8AC3E}">
        <p14:creationId xmlns:p14="http://schemas.microsoft.com/office/powerpoint/2010/main" val="3087978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D4D86F-AD49-0746-84C0-22EAAEBB309A}"/>
              </a:ext>
            </a:extLst>
          </p:cNvPr>
          <p:cNvSpPr>
            <a:spLocks noGrp="1"/>
          </p:cNvSpPr>
          <p:nvPr>
            <p:ph type="title"/>
          </p:nvPr>
        </p:nvSpPr>
        <p:spPr>
          <a:xfrm>
            <a:off x="1381250" y="922668"/>
            <a:ext cx="6770530" cy="435600"/>
          </a:xfrm>
        </p:spPr>
        <p:txBody>
          <a:bodyPr/>
          <a:lstStyle/>
          <a:p>
            <a:r>
              <a:rPr lang="en-US" sz="2400" dirty="0"/>
              <a:t>Africa’s energy needs are critical and urgent</a:t>
            </a:r>
          </a:p>
        </p:txBody>
      </p:sp>
      <p:sp>
        <p:nvSpPr>
          <p:cNvPr id="6" name="Text Placeholder 5">
            <a:extLst>
              <a:ext uri="{FF2B5EF4-FFF2-40B4-BE49-F238E27FC236}">
                <a16:creationId xmlns:a16="http://schemas.microsoft.com/office/drawing/2014/main" id="{E27D8A89-5132-314C-9230-909031A3D45D}"/>
              </a:ext>
            </a:extLst>
          </p:cNvPr>
          <p:cNvSpPr>
            <a:spLocks noGrp="1"/>
          </p:cNvSpPr>
          <p:nvPr>
            <p:ph type="body" idx="1"/>
          </p:nvPr>
        </p:nvSpPr>
        <p:spPr>
          <a:xfrm>
            <a:off x="846230" y="2031300"/>
            <a:ext cx="7305550" cy="3112200"/>
          </a:xfrm>
        </p:spPr>
        <p:txBody>
          <a:bodyPr/>
          <a:lstStyle/>
          <a:p>
            <a:pPr algn="just"/>
            <a:r>
              <a:rPr lang="en-US" sz="2000" b="1" dirty="0"/>
              <a:t>588 millions Africans </a:t>
            </a:r>
            <a:r>
              <a:rPr lang="en-US" sz="2000" dirty="0"/>
              <a:t>live without access to electricity – the bulk live in Sub-Saharan Africa.</a:t>
            </a:r>
          </a:p>
          <a:p>
            <a:pPr algn="just"/>
            <a:r>
              <a:rPr lang="en-US" sz="2000" dirty="0"/>
              <a:t>Energy sector bottlenecks cost the continent </a:t>
            </a:r>
            <a:r>
              <a:rPr lang="en-US" sz="2000" b="1" dirty="0"/>
              <a:t>2-4 % GDP annually.</a:t>
            </a:r>
          </a:p>
          <a:p>
            <a:pPr algn="just"/>
            <a:r>
              <a:rPr lang="en-US" sz="2000" b="1" dirty="0"/>
              <a:t>The continent cannot develop in the dark.</a:t>
            </a:r>
          </a:p>
        </p:txBody>
      </p:sp>
    </p:spTree>
    <p:extLst>
      <p:ext uri="{BB962C8B-B14F-4D97-AF65-F5344CB8AC3E}">
        <p14:creationId xmlns:p14="http://schemas.microsoft.com/office/powerpoint/2010/main" val="3412409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EBFC7-77F3-324D-B9B1-A7721B811AB1}"/>
              </a:ext>
            </a:extLst>
          </p:cNvPr>
          <p:cNvSpPr>
            <a:spLocks noGrp="1"/>
          </p:cNvSpPr>
          <p:nvPr>
            <p:ph type="title"/>
          </p:nvPr>
        </p:nvSpPr>
        <p:spPr>
          <a:xfrm>
            <a:off x="1381250" y="922668"/>
            <a:ext cx="7470920" cy="435600"/>
          </a:xfrm>
        </p:spPr>
        <p:txBody>
          <a:bodyPr/>
          <a:lstStyle/>
          <a:p>
            <a:r>
              <a:rPr lang="en-US" sz="2400" dirty="0"/>
              <a:t>African Development Bank launched the New Deal on Energy for Africa in 2016</a:t>
            </a:r>
          </a:p>
        </p:txBody>
      </p:sp>
      <p:sp>
        <p:nvSpPr>
          <p:cNvPr id="3" name="Text Placeholder 2">
            <a:extLst>
              <a:ext uri="{FF2B5EF4-FFF2-40B4-BE49-F238E27FC236}">
                <a16:creationId xmlns:a16="http://schemas.microsoft.com/office/drawing/2014/main" id="{BC79B3CF-F1D5-414C-B176-916EAC3BB6F8}"/>
              </a:ext>
            </a:extLst>
          </p:cNvPr>
          <p:cNvSpPr>
            <a:spLocks noGrp="1"/>
          </p:cNvSpPr>
          <p:nvPr>
            <p:ph type="body" idx="1"/>
          </p:nvPr>
        </p:nvSpPr>
        <p:spPr>
          <a:xfrm>
            <a:off x="817046" y="1783520"/>
            <a:ext cx="7490375" cy="3112200"/>
          </a:xfrm>
        </p:spPr>
        <p:txBody>
          <a:bodyPr/>
          <a:lstStyle/>
          <a:p>
            <a:r>
              <a:rPr lang="en-US" sz="2000" i="1" dirty="0"/>
              <a:t>Lighting up and powering Africa</a:t>
            </a:r>
            <a:r>
              <a:rPr lang="en-US" sz="2000" dirty="0"/>
              <a:t> is the first of the Bank’s High-5 priorities.</a:t>
            </a:r>
          </a:p>
          <a:p>
            <a:r>
              <a:rPr lang="en-US" sz="2000" dirty="0"/>
              <a:t>Bank has launched New Deal on Energy for Africa to achieve universal access by 2025:</a:t>
            </a:r>
          </a:p>
          <a:p>
            <a:pPr lvl="1"/>
            <a:r>
              <a:rPr lang="en-US" sz="1800" b="1" dirty="0"/>
              <a:t>160 GW </a:t>
            </a:r>
            <a:r>
              <a:rPr lang="en-US" sz="1800" dirty="0"/>
              <a:t>on-grid generation,</a:t>
            </a:r>
          </a:p>
          <a:p>
            <a:pPr lvl="1"/>
            <a:r>
              <a:rPr lang="en-US" sz="1800" b="1" dirty="0"/>
              <a:t>130 million </a:t>
            </a:r>
            <a:r>
              <a:rPr lang="en-US" sz="1800" dirty="0"/>
              <a:t>new on-grid connections,</a:t>
            </a:r>
          </a:p>
          <a:p>
            <a:pPr lvl="1"/>
            <a:r>
              <a:rPr lang="en-US" sz="1800" b="1" dirty="0"/>
              <a:t>75 million </a:t>
            </a:r>
            <a:r>
              <a:rPr lang="en-US" sz="1800" dirty="0"/>
              <a:t>new off-grid connections,</a:t>
            </a:r>
          </a:p>
          <a:p>
            <a:pPr lvl="1"/>
            <a:r>
              <a:rPr lang="en-US" sz="1800" b="1" dirty="0"/>
              <a:t>150 million </a:t>
            </a:r>
            <a:r>
              <a:rPr lang="en-US" sz="1800" dirty="0"/>
              <a:t>households with access to clean cooking solutions.</a:t>
            </a:r>
          </a:p>
        </p:txBody>
      </p:sp>
    </p:spTree>
    <p:extLst>
      <p:ext uri="{BB962C8B-B14F-4D97-AF65-F5344CB8AC3E}">
        <p14:creationId xmlns:p14="http://schemas.microsoft.com/office/powerpoint/2010/main" val="3465784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99BF6-F7AF-BB4B-8A28-1FDEF56D488B}"/>
              </a:ext>
            </a:extLst>
          </p:cNvPr>
          <p:cNvSpPr>
            <a:spLocks noGrp="1"/>
          </p:cNvSpPr>
          <p:nvPr>
            <p:ph type="title"/>
          </p:nvPr>
        </p:nvSpPr>
        <p:spPr>
          <a:xfrm>
            <a:off x="1381250" y="922668"/>
            <a:ext cx="7325006" cy="435600"/>
          </a:xfrm>
        </p:spPr>
        <p:txBody>
          <a:bodyPr/>
          <a:lstStyle/>
          <a:p>
            <a:r>
              <a:rPr lang="en-US" sz="2400" dirty="0"/>
              <a:t>The private sector has an important role to play in achieving the New Deal targets</a:t>
            </a:r>
          </a:p>
        </p:txBody>
      </p:sp>
      <p:sp>
        <p:nvSpPr>
          <p:cNvPr id="3" name="Text Placeholder 2">
            <a:extLst>
              <a:ext uri="{FF2B5EF4-FFF2-40B4-BE49-F238E27FC236}">
                <a16:creationId xmlns:a16="http://schemas.microsoft.com/office/drawing/2014/main" id="{0B3242DB-F683-F24E-A11E-16EFDF20E865}"/>
              </a:ext>
            </a:extLst>
          </p:cNvPr>
          <p:cNvSpPr>
            <a:spLocks noGrp="1"/>
          </p:cNvSpPr>
          <p:nvPr>
            <p:ph type="body" idx="1"/>
          </p:nvPr>
        </p:nvSpPr>
        <p:spPr>
          <a:xfrm>
            <a:off x="739224" y="1657058"/>
            <a:ext cx="8122674" cy="3112200"/>
          </a:xfrm>
        </p:spPr>
        <p:txBody>
          <a:bodyPr/>
          <a:lstStyle/>
          <a:p>
            <a:pPr algn="just"/>
            <a:r>
              <a:rPr lang="en-US" sz="2000" dirty="0"/>
              <a:t>Achieving the New Deal on Energy for Africa </a:t>
            </a:r>
            <a:r>
              <a:rPr lang="en-GB" sz="2000" dirty="0"/>
              <a:t>requires a </a:t>
            </a:r>
            <a:r>
              <a:rPr lang="en-GB" sz="2000" b="1" dirty="0"/>
              <a:t>significant increase of private sector investments.</a:t>
            </a:r>
          </a:p>
          <a:p>
            <a:pPr algn="just"/>
            <a:r>
              <a:rPr lang="en-GB" sz="2000" b="1" dirty="0"/>
              <a:t>Sovereign and non-sovereign operations under one Vice-Presidency </a:t>
            </a:r>
            <a:r>
              <a:rPr lang="en-GB" sz="2000" dirty="0"/>
              <a:t>to enable leveraging of public resources to attract private sector investments.</a:t>
            </a:r>
          </a:p>
          <a:p>
            <a:pPr algn="just"/>
            <a:r>
              <a:rPr lang="en-US" sz="2000" dirty="0"/>
              <a:t>In 2017, Bank’s private sector lending in support of energy projects reached almost </a:t>
            </a:r>
            <a:r>
              <a:rPr lang="en-US" sz="2000" b="1" dirty="0"/>
              <a:t>USD 400 million – which represent a 40% increase from the previous year.</a:t>
            </a:r>
            <a:endParaRPr lang="en-US" sz="2000" dirty="0"/>
          </a:p>
        </p:txBody>
      </p:sp>
    </p:spTree>
    <p:extLst>
      <p:ext uri="{BB962C8B-B14F-4D97-AF65-F5344CB8AC3E}">
        <p14:creationId xmlns:p14="http://schemas.microsoft.com/office/powerpoint/2010/main" val="760458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sp>
        <p:nvSpPr>
          <p:cNvPr id="3" name="Oval 2"/>
          <p:cNvSpPr/>
          <p:nvPr/>
        </p:nvSpPr>
        <p:spPr>
          <a:xfrm>
            <a:off x="625400" y="406400"/>
            <a:ext cx="3654300" cy="3654300"/>
          </a:xfrm>
          <a:prstGeom prst="ellipse">
            <a:avLst/>
          </a:prstGeom>
          <a:blipFill>
            <a:blip r:embed="rId3"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Shape 166"/>
          <p:cNvSpPr txBox="1">
            <a:spLocks noGrp="1"/>
          </p:cNvSpPr>
          <p:nvPr>
            <p:ph type="body" idx="4294967295"/>
          </p:nvPr>
        </p:nvSpPr>
        <p:spPr>
          <a:xfrm>
            <a:off x="4456482" y="1514366"/>
            <a:ext cx="4580514" cy="3148399"/>
          </a:xfrm>
          <a:prstGeom prst="rect">
            <a:avLst/>
          </a:prstGeom>
        </p:spPr>
        <p:txBody>
          <a:bodyPr spcFirstLastPara="1" wrap="square" lIns="91425" tIns="91425" rIns="91425" bIns="91425" anchor="ctr" anchorCtr="0">
            <a:noAutofit/>
          </a:bodyPr>
          <a:lstStyle/>
          <a:p>
            <a:pPr lvl="0"/>
            <a:r>
              <a:rPr lang="en-US" sz="1400" b="1" dirty="0">
                <a:latin typeface="+mn-lt"/>
              </a:rPr>
              <a:t>2 GW</a:t>
            </a:r>
            <a:r>
              <a:rPr lang="en-US" sz="1400" dirty="0">
                <a:latin typeface="+mn-lt"/>
              </a:rPr>
              <a:t> additional capacity, essentially from renewable energy sources.</a:t>
            </a:r>
          </a:p>
          <a:p>
            <a:pPr lvl="0"/>
            <a:r>
              <a:rPr lang="en-US" sz="1400" b="1" dirty="0">
                <a:latin typeface="+mn-lt"/>
              </a:rPr>
              <a:t>3,340 km of transmission lin</a:t>
            </a:r>
            <a:r>
              <a:rPr lang="en-US" sz="1400" dirty="0">
                <a:latin typeface="+mn-lt"/>
              </a:rPr>
              <a:t>es (of which 2,580 km of regional interconnections) along with </a:t>
            </a:r>
            <a:r>
              <a:rPr lang="en-US" sz="1400" b="1" dirty="0">
                <a:latin typeface="+mn-lt"/>
              </a:rPr>
              <a:t>24,300 km of distribution lines </a:t>
            </a:r>
            <a:r>
              <a:rPr lang="en-US" sz="1400" dirty="0">
                <a:latin typeface="+mn-lt"/>
              </a:rPr>
              <a:t>and associated/substations transformers.</a:t>
            </a:r>
          </a:p>
          <a:p>
            <a:pPr lvl="0"/>
            <a:r>
              <a:rPr lang="en-US" sz="1400" b="1" dirty="0">
                <a:latin typeface="+mn-lt"/>
              </a:rPr>
              <a:t>1.5 million direct electricity connections </a:t>
            </a:r>
            <a:r>
              <a:rPr lang="en-US" sz="1400" dirty="0">
                <a:latin typeface="+mn-lt"/>
              </a:rPr>
              <a:t>which will provide electricity to around </a:t>
            </a:r>
            <a:r>
              <a:rPr lang="en-US" sz="1400" b="1" dirty="0">
                <a:latin typeface="+mn-lt"/>
              </a:rPr>
              <a:t>7.1 million additional persons.</a:t>
            </a:r>
          </a:p>
          <a:p>
            <a:pPr lvl="0"/>
            <a:r>
              <a:rPr lang="en-US" sz="1400" b="1" dirty="0">
                <a:latin typeface="+mn-lt"/>
              </a:rPr>
              <a:t>10,600 jobs created during construction </a:t>
            </a:r>
            <a:r>
              <a:rPr lang="en-US" sz="1400" dirty="0">
                <a:latin typeface="+mn-lt"/>
              </a:rPr>
              <a:t>phase and </a:t>
            </a:r>
            <a:r>
              <a:rPr lang="en-US" sz="1400" b="1" dirty="0">
                <a:latin typeface="+mn-lt"/>
              </a:rPr>
              <a:t>1,000 during maintenance </a:t>
            </a:r>
            <a:r>
              <a:rPr lang="en-US" sz="1400" dirty="0">
                <a:latin typeface="+mn-lt"/>
              </a:rPr>
              <a:t>phase.</a:t>
            </a:r>
          </a:p>
        </p:txBody>
      </p:sp>
      <p:sp>
        <p:nvSpPr>
          <p:cNvPr id="169" name="Shape 169"/>
          <p:cNvSpPr/>
          <p:nvPr/>
        </p:nvSpPr>
        <p:spPr>
          <a:xfrm>
            <a:off x="625400" y="736700"/>
            <a:ext cx="790200" cy="790200"/>
          </a:xfrm>
          <a:prstGeom prst="ellipse">
            <a:avLst/>
          </a:prstGeom>
          <a:solidFill>
            <a:srgbClr val="FFCD00"/>
          </a:solidFill>
          <a:ln>
            <a:noFill/>
          </a:ln>
        </p:spPr>
        <p:txBody>
          <a:bodyPr spcFirstLastPara="1" wrap="square" lIns="91425" tIns="91425" rIns="91425" bIns="91425" anchor="ctr" anchorCtr="0">
            <a:noAutofit/>
          </a:bodyPr>
          <a:lstStyle/>
          <a:p>
            <a:pPr marL="0" lvl="0" indent="0" rtl="0">
              <a:spcBef>
                <a:spcPts val="0"/>
              </a:spcBef>
              <a:spcAft>
                <a:spcPts val="0"/>
              </a:spcAft>
              <a:buNone/>
            </a:pPr>
            <a:endParaRPr/>
          </a:p>
        </p:txBody>
      </p:sp>
      <p:sp>
        <p:nvSpPr>
          <p:cNvPr id="12" name="Shape 645"/>
          <p:cNvSpPr/>
          <p:nvPr/>
        </p:nvSpPr>
        <p:spPr>
          <a:xfrm>
            <a:off x="802182" y="909330"/>
            <a:ext cx="436635" cy="441950"/>
          </a:xfrm>
          <a:custGeom>
            <a:avLst/>
            <a:gdLst/>
            <a:ahLst/>
            <a:cxnLst/>
            <a:rect l="0" t="0" r="0" b="0"/>
            <a:pathLst>
              <a:path w="16221" h="16222" fill="none" extrusionOk="0">
                <a:moveTo>
                  <a:pt x="0" y="8111"/>
                </a:moveTo>
                <a:lnTo>
                  <a:pt x="0" y="8111"/>
                </a:lnTo>
                <a:lnTo>
                  <a:pt x="0" y="7697"/>
                </a:lnTo>
                <a:lnTo>
                  <a:pt x="49" y="7283"/>
                </a:lnTo>
                <a:lnTo>
                  <a:pt x="98" y="6869"/>
                </a:lnTo>
                <a:lnTo>
                  <a:pt x="171" y="6479"/>
                </a:lnTo>
                <a:lnTo>
                  <a:pt x="244" y="6090"/>
                </a:lnTo>
                <a:lnTo>
                  <a:pt x="366" y="5700"/>
                </a:lnTo>
                <a:lnTo>
                  <a:pt x="487" y="5335"/>
                </a:lnTo>
                <a:lnTo>
                  <a:pt x="634" y="4945"/>
                </a:lnTo>
                <a:lnTo>
                  <a:pt x="804" y="4604"/>
                </a:lnTo>
                <a:lnTo>
                  <a:pt x="975" y="4239"/>
                </a:lnTo>
                <a:lnTo>
                  <a:pt x="1169" y="3898"/>
                </a:lnTo>
                <a:lnTo>
                  <a:pt x="1389" y="3581"/>
                </a:lnTo>
                <a:lnTo>
                  <a:pt x="1608" y="3264"/>
                </a:lnTo>
                <a:lnTo>
                  <a:pt x="1851" y="2948"/>
                </a:lnTo>
                <a:lnTo>
                  <a:pt x="2119" y="2656"/>
                </a:lnTo>
                <a:lnTo>
                  <a:pt x="2387" y="2388"/>
                </a:lnTo>
                <a:lnTo>
                  <a:pt x="2655" y="2120"/>
                </a:lnTo>
                <a:lnTo>
                  <a:pt x="2947" y="1852"/>
                </a:lnTo>
                <a:lnTo>
                  <a:pt x="3264" y="1608"/>
                </a:lnTo>
                <a:lnTo>
                  <a:pt x="3581" y="1389"/>
                </a:lnTo>
                <a:lnTo>
                  <a:pt x="3897" y="1170"/>
                </a:lnTo>
                <a:lnTo>
                  <a:pt x="4238" y="975"/>
                </a:lnTo>
                <a:lnTo>
                  <a:pt x="4603" y="805"/>
                </a:lnTo>
                <a:lnTo>
                  <a:pt x="4944" y="634"/>
                </a:lnTo>
                <a:lnTo>
                  <a:pt x="5334" y="488"/>
                </a:lnTo>
                <a:lnTo>
                  <a:pt x="5699" y="366"/>
                </a:lnTo>
                <a:lnTo>
                  <a:pt x="6089" y="244"/>
                </a:lnTo>
                <a:lnTo>
                  <a:pt x="6479" y="171"/>
                </a:lnTo>
                <a:lnTo>
                  <a:pt x="6868" y="98"/>
                </a:lnTo>
                <a:lnTo>
                  <a:pt x="7282" y="50"/>
                </a:lnTo>
                <a:lnTo>
                  <a:pt x="7696" y="1"/>
                </a:lnTo>
                <a:lnTo>
                  <a:pt x="8111" y="1"/>
                </a:lnTo>
                <a:lnTo>
                  <a:pt x="8111" y="1"/>
                </a:lnTo>
                <a:lnTo>
                  <a:pt x="8525" y="1"/>
                </a:lnTo>
                <a:lnTo>
                  <a:pt x="8939" y="50"/>
                </a:lnTo>
                <a:lnTo>
                  <a:pt x="9353" y="98"/>
                </a:lnTo>
                <a:lnTo>
                  <a:pt x="9742" y="171"/>
                </a:lnTo>
                <a:lnTo>
                  <a:pt x="10132" y="244"/>
                </a:lnTo>
                <a:lnTo>
                  <a:pt x="10522" y="366"/>
                </a:lnTo>
                <a:lnTo>
                  <a:pt x="10911" y="488"/>
                </a:lnTo>
                <a:lnTo>
                  <a:pt x="11277" y="634"/>
                </a:lnTo>
                <a:lnTo>
                  <a:pt x="11618" y="805"/>
                </a:lnTo>
                <a:lnTo>
                  <a:pt x="11983" y="975"/>
                </a:lnTo>
                <a:lnTo>
                  <a:pt x="12324" y="1170"/>
                </a:lnTo>
                <a:lnTo>
                  <a:pt x="12641" y="1389"/>
                </a:lnTo>
                <a:lnTo>
                  <a:pt x="12957" y="1608"/>
                </a:lnTo>
                <a:lnTo>
                  <a:pt x="13274" y="1852"/>
                </a:lnTo>
                <a:lnTo>
                  <a:pt x="13566" y="2120"/>
                </a:lnTo>
                <a:lnTo>
                  <a:pt x="13834" y="2388"/>
                </a:lnTo>
                <a:lnTo>
                  <a:pt x="14126" y="2656"/>
                </a:lnTo>
                <a:lnTo>
                  <a:pt x="14370" y="2948"/>
                </a:lnTo>
                <a:lnTo>
                  <a:pt x="14613" y="3264"/>
                </a:lnTo>
                <a:lnTo>
                  <a:pt x="14832" y="3581"/>
                </a:lnTo>
                <a:lnTo>
                  <a:pt x="15052" y="3898"/>
                </a:lnTo>
                <a:lnTo>
                  <a:pt x="15247" y="4239"/>
                </a:lnTo>
                <a:lnTo>
                  <a:pt x="15417" y="4604"/>
                </a:lnTo>
                <a:lnTo>
                  <a:pt x="15587" y="4945"/>
                </a:lnTo>
                <a:lnTo>
                  <a:pt x="15734" y="5335"/>
                </a:lnTo>
                <a:lnTo>
                  <a:pt x="15855" y="5700"/>
                </a:lnTo>
                <a:lnTo>
                  <a:pt x="15977" y="6090"/>
                </a:lnTo>
                <a:lnTo>
                  <a:pt x="16050" y="6479"/>
                </a:lnTo>
                <a:lnTo>
                  <a:pt x="16123" y="6869"/>
                </a:lnTo>
                <a:lnTo>
                  <a:pt x="16172" y="7283"/>
                </a:lnTo>
                <a:lnTo>
                  <a:pt x="16221" y="7697"/>
                </a:lnTo>
                <a:lnTo>
                  <a:pt x="16221" y="8111"/>
                </a:lnTo>
                <a:lnTo>
                  <a:pt x="16221" y="8111"/>
                </a:lnTo>
                <a:lnTo>
                  <a:pt x="16221" y="8525"/>
                </a:lnTo>
                <a:lnTo>
                  <a:pt x="16172" y="8939"/>
                </a:lnTo>
                <a:lnTo>
                  <a:pt x="16123" y="9353"/>
                </a:lnTo>
                <a:lnTo>
                  <a:pt x="16050" y="9743"/>
                </a:lnTo>
                <a:lnTo>
                  <a:pt x="15977" y="10133"/>
                </a:lnTo>
                <a:lnTo>
                  <a:pt x="15855" y="10522"/>
                </a:lnTo>
                <a:lnTo>
                  <a:pt x="15734" y="10888"/>
                </a:lnTo>
                <a:lnTo>
                  <a:pt x="15587" y="11277"/>
                </a:lnTo>
                <a:lnTo>
                  <a:pt x="15417" y="11618"/>
                </a:lnTo>
                <a:lnTo>
                  <a:pt x="15247" y="11984"/>
                </a:lnTo>
                <a:lnTo>
                  <a:pt x="15052" y="12324"/>
                </a:lnTo>
                <a:lnTo>
                  <a:pt x="14832" y="12641"/>
                </a:lnTo>
                <a:lnTo>
                  <a:pt x="14613" y="12958"/>
                </a:lnTo>
                <a:lnTo>
                  <a:pt x="14370" y="13274"/>
                </a:lnTo>
                <a:lnTo>
                  <a:pt x="14126" y="13567"/>
                </a:lnTo>
                <a:lnTo>
                  <a:pt x="13834" y="13835"/>
                </a:lnTo>
                <a:lnTo>
                  <a:pt x="13566" y="14102"/>
                </a:lnTo>
                <a:lnTo>
                  <a:pt x="13274" y="14370"/>
                </a:lnTo>
                <a:lnTo>
                  <a:pt x="12957" y="14614"/>
                </a:lnTo>
                <a:lnTo>
                  <a:pt x="12641" y="14833"/>
                </a:lnTo>
                <a:lnTo>
                  <a:pt x="12324" y="15052"/>
                </a:lnTo>
                <a:lnTo>
                  <a:pt x="11983" y="15247"/>
                </a:lnTo>
                <a:lnTo>
                  <a:pt x="11618" y="15418"/>
                </a:lnTo>
                <a:lnTo>
                  <a:pt x="11277" y="15588"/>
                </a:lnTo>
                <a:lnTo>
                  <a:pt x="10911" y="15734"/>
                </a:lnTo>
                <a:lnTo>
                  <a:pt x="10522" y="15856"/>
                </a:lnTo>
                <a:lnTo>
                  <a:pt x="10132" y="15978"/>
                </a:lnTo>
                <a:lnTo>
                  <a:pt x="9742" y="16051"/>
                </a:lnTo>
                <a:lnTo>
                  <a:pt x="9353" y="16124"/>
                </a:lnTo>
                <a:lnTo>
                  <a:pt x="8939" y="16173"/>
                </a:lnTo>
                <a:lnTo>
                  <a:pt x="8525" y="16221"/>
                </a:lnTo>
                <a:lnTo>
                  <a:pt x="8111" y="16221"/>
                </a:lnTo>
                <a:lnTo>
                  <a:pt x="8111" y="16221"/>
                </a:lnTo>
                <a:lnTo>
                  <a:pt x="7696" y="16221"/>
                </a:lnTo>
                <a:lnTo>
                  <a:pt x="7282" y="16173"/>
                </a:lnTo>
                <a:lnTo>
                  <a:pt x="6868" y="16124"/>
                </a:lnTo>
                <a:lnTo>
                  <a:pt x="6479" y="16051"/>
                </a:lnTo>
                <a:lnTo>
                  <a:pt x="6089" y="15978"/>
                </a:lnTo>
                <a:lnTo>
                  <a:pt x="5699" y="15856"/>
                </a:lnTo>
                <a:lnTo>
                  <a:pt x="5334" y="15734"/>
                </a:lnTo>
                <a:lnTo>
                  <a:pt x="4944" y="15588"/>
                </a:lnTo>
                <a:lnTo>
                  <a:pt x="4603" y="15418"/>
                </a:lnTo>
                <a:lnTo>
                  <a:pt x="4238" y="15247"/>
                </a:lnTo>
                <a:lnTo>
                  <a:pt x="3897" y="15052"/>
                </a:lnTo>
                <a:lnTo>
                  <a:pt x="3581" y="14833"/>
                </a:lnTo>
                <a:lnTo>
                  <a:pt x="3264" y="14614"/>
                </a:lnTo>
                <a:lnTo>
                  <a:pt x="2947" y="14370"/>
                </a:lnTo>
                <a:lnTo>
                  <a:pt x="2655" y="14102"/>
                </a:lnTo>
                <a:lnTo>
                  <a:pt x="2387" y="13835"/>
                </a:lnTo>
                <a:lnTo>
                  <a:pt x="2119" y="13567"/>
                </a:lnTo>
                <a:lnTo>
                  <a:pt x="1851" y="13274"/>
                </a:lnTo>
                <a:lnTo>
                  <a:pt x="1608" y="12958"/>
                </a:lnTo>
                <a:lnTo>
                  <a:pt x="1389" y="12641"/>
                </a:lnTo>
                <a:lnTo>
                  <a:pt x="1169" y="12324"/>
                </a:lnTo>
                <a:lnTo>
                  <a:pt x="975" y="11984"/>
                </a:lnTo>
                <a:lnTo>
                  <a:pt x="804" y="11618"/>
                </a:lnTo>
                <a:lnTo>
                  <a:pt x="634" y="11277"/>
                </a:lnTo>
                <a:lnTo>
                  <a:pt x="487" y="10888"/>
                </a:lnTo>
                <a:lnTo>
                  <a:pt x="366" y="10522"/>
                </a:lnTo>
                <a:lnTo>
                  <a:pt x="244" y="10133"/>
                </a:lnTo>
                <a:lnTo>
                  <a:pt x="171" y="9743"/>
                </a:lnTo>
                <a:lnTo>
                  <a:pt x="98" y="9353"/>
                </a:lnTo>
                <a:lnTo>
                  <a:pt x="49" y="8939"/>
                </a:lnTo>
                <a:lnTo>
                  <a:pt x="0" y="8525"/>
                </a:lnTo>
                <a:lnTo>
                  <a:pt x="0" y="8111"/>
                </a:lnTo>
                <a:lnTo>
                  <a:pt x="0" y="8111"/>
                </a:lnTo>
                <a:close/>
                <a:moveTo>
                  <a:pt x="7234" y="11180"/>
                </a:moveTo>
                <a:lnTo>
                  <a:pt x="7234" y="11180"/>
                </a:lnTo>
                <a:lnTo>
                  <a:pt x="7282" y="11180"/>
                </a:lnTo>
                <a:lnTo>
                  <a:pt x="7282" y="11180"/>
                </a:lnTo>
                <a:lnTo>
                  <a:pt x="7453" y="11155"/>
                </a:lnTo>
                <a:lnTo>
                  <a:pt x="7623" y="11082"/>
                </a:lnTo>
                <a:lnTo>
                  <a:pt x="7794" y="10985"/>
                </a:lnTo>
                <a:lnTo>
                  <a:pt x="7916" y="10863"/>
                </a:lnTo>
                <a:lnTo>
                  <a:pt x="12007" y="6747"/>
                </a:lnTo>
                <a:lnTo>
                  <a:pt x="12007" y="6747"/>
                </a:lnTo>
                <a:lnTo>
                  <a:pt x="12105" y="6625"/>
                </a:lnTo>
                <a:lnTo>
                  <a:pt x="12153" y="6504"/>
                </a:lnTo>
                <a:lnTo>
                  <a:pt x="12202" y="6358"/>
                </a:lnTo>
                <a:lnTo>
                  <a:pt x="12202" y="6211"/>
                </a:lnTo>
                <a:lnTo>
                  <a:pt x="12202" y="6211"/>
                </a:lnTo>
                <a:lnTo>
                  <a:pt x="12178" y="6017"/>
                </a:lnTo>
                <a:lnTo>
                  <a:pt x="12129" y="5822"/>
                </a:lnTo>
                <a:lnTo>
                  <a:pt x="12032" y="5676"/>
                </a:lnTo>
                <a:lnTo>
                  <a:pt x="11886" y="5529"/>
                </a:lnTo>
                <a:lnTo>
                  <a:pt x="11886" y="5529"/>
                </a:lnTo>
                <a:lnTo>
                  <a:pt x="11764" y="5432"/>
                </a:lnTo>
                <a:lnTo>
                  <a:pt x="11618" y="5383"/>
                </a:lnTo>
                <a:lnTo>
                  <a:pt x="11472" y="5335"/>
                </a:lnTo>
                <a:lnTo>
                  <a:pt x="11325" y="5335"/>
                </a:lnTo>
                <a:lnTo>
                  <a:pt x="11325" y="5335"/>
                </a:lnTo>
                <a:lnTo>
                  <a:pt x="11131" y="5359"/>
                </a:lnTo>
                <a:lnTo>
                  <a:pt x="10960" y="5408"/>
                </a:lnTo>
                <a:lnTo>
                  <a:pt x="10790" y="5505"/>
                </a:lnTo>
                <a:lnTo>
                  <a:pt x="10643" y="5651"/>
                </a:lnTo>
                <a:lnTo>
                  <a:pt x="7161" y="8988"/>
                </a:lnTo>
                <a:lnTo>
                  <a:pt x="5797" y="7648"/>
                </a:lnTo>
                <a:lnTo>
                  <a:pt x="5797" y="7648"/>
                </a:lnTo>
                <a:lnTo>
                  <a:pt x="5675" y="7527"/>
                </a:lnTo>
                <a:lnTo>
                  <a:pt x="5505" y="7454"/>
                </a:lnTo>
                <a:lnTo>
                  <a:pt x="5358" y="7405"/>
                </a:lnTo>
                <a:lnTo>
                  <a:pt x="5188" y="7380"/>
                </a:lnTo>
                <a:lnTo>
                  <a:pt x="5188" y="7380"/>
                </a:lnTo>
                <a:lnTo>
                  <a:pt x="5017" y="7405"/>
                </a:lnTo>
                <a:lnTo>
                  <a:pt x="4847" y="7454"/>
                </a:lnTo>
                <a:lnTo>
                  <a:pt x="4701" y="7527"/>
                </a:lnTo>
                <a:lnTo>
                  <a:pt x="4555" y="7648"/>
                </a:lnTo>
                <a:lnTo>
                  <a:pt x="4555" y="7648"/>
                </a:lnTo>
                <a:lnTo>
                  <a:pt x="4457" y="7770"/>
                </a:lnTo>
                <a:lnTo>
                  <a:pt x="4360" y="7916"/>
                </a:lnTo>
                <a:lnTo>
                  <a:pt x="4311" y="8087"/>
                </a:lnTo>
                <a:lnTo>
                  <a:pt x="4311" y="8257"/>
                </a:lnTo>
                <a:lnTo>
                  <a:pt x="4311" y="8257"/>
                </a:lnTo>
                <a:lnTo>
                  <a:pt x="4311" y="8428"/>
                </a:lnTo>
                <a:lnTo>
                  <a:pt x="4360" y="8598"/>
                </a:lnTo>
                <a:lnTo>
                  <a:pt x="4457" y="8744"/>
                </a:lnTo>
                <a:lnTo>
                  <a:pt x="4555" y="8890"/>
                </a:lnTo>
                <a:lnTo>
                  <a:pt x="6601" y="10936"/>
                </a:lnTo>
                <a:lnTo>
                  <a:pt x="6601" y="10936"/>
                </a:lnTo>
                <a:lnTo>
                  <a:pt x="6747" y="11034"/>
                </a:lnTo>
                <a:lnTo>
                  <a:pt x="6893" y="11131"/>
                </a:lnTo>
                <a:lnTo>
                  <a:pt x="7063" y="11180"/>
                </a:lnTo>
                <a:lnTo>
                  <a:pt x="7234" y="11180"/>
                </a:lnTo>
                <a:lnTo>
                  <a:pt x="7234" y="11180"/>
                </a:lnTo>
                <a:close/>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 name="TextBox 3"/>
          <p:cNvSpPr txBox="1"/>
          <p:nvPr/>
        </p:nvSpPr>
        <p:spPr>
          <a:xfrm>
            <a:off x="4503735" y="449682"/>
            <a:ext cx="4486007" cy="1077218"/>
          </a:xfrm>
          <a:prstGeom prst="rect">
            <a:avLst/>
          </a:prstGeom>
          <a:noFill/>
        </p:spPr>
        <p:txBody>
          <a:bodyPr wrap="square" rtlCol="0">
            <a:spAutoFit/>
          </a:bodyPr>
          <a:lstStyle/>
          <a:p>
            <a:r>
              <a:rPr lang="en-US" sz="1600" b="1" dirty="0">
                <a:latin typeface="+mj-lt"/>
              </a:rPr>
              <a:t>In terms of impact, projects approved by the African Development Bank since the launch of the New Deal (2016 and 2017) will contribute towards:</a:t>
            </a:r>
          </a:p>
        </p:txBody>
      </p:sp>
    </p:spTree>
    <p:extLst>
      <p:ext uri="{BB962C8B-B14F-4D97-AF65-F5344CB8AC3E}">
        <p14:creationId xmlns:p14="http://schemas.microsoft.com/office/powerpoint/2010/main" val="2938705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Shape 110"/>
          <p:cNvSpPr txBox="1">
            <a:spLocks noGrp="1"/>
          </p:cNvSpPr>
          <p:nvPr>
            <p:ph type="title"/>
          </p:nvPr>
        </p:nvSpPr>
        <p:spPr>
          <a:xfrm>
            <a:off x="1381250" y="919839"/>
            <a:ext cx="3878400" cy="435600"/>
          </a:xfrm>
          <a:prstGeom prst="rect">
            <a:avLst/>
          </a:prstGeom>
          <a:noFill/>
        </p:spPr>
        <p:txBody>
          <a:bodyPr spcFirstLastPara="1" wrap="square" lIns="91425" tIns="91425" rIns="91425" bIns="91425" anchor="ctr" anchorCtr="0">
            <a:noAutofit/>
          </a:bodyPr>
          <a:lstStyle/>
          <a:p>
            <a:pPr marL="0" lvl="0" indent="0">
              <a:spcBef>
                <a:spcPts val="0"/>
              </a:spcBef>
              <a:spcAft>
                <a:spcPts val="0"/>
              </a:spcAft>
              <a:buNone/>
            </a:pPr>
            <a:r>
              <a:rPr lang="en-US" dirty="0"/>
              <a:t>Presentation </a:t>
            </a:r>
            <a:r>
              <a:rPr lang="en-US" dirty="0">
                <a:highlight>
                  <a:srgbClr val="FFCD00"/>
                </a:highlight>
              </a:rPr>
              <a:t>outline</a:t>
            </a:r>
            <a:endParaRPr dirty="0">
              <a:highlight>
                <a:srgbClr val="FFCD00"/>
              </a:highlight>
            </a:endParaRPr>
          </a:p>
        </p:txBody>
      </p:sp>
      <p:sp>
        <p:nvSpPr>
          <p:cNvPr id="111" name="Shape 111"/>
          <p:cNvSpPr txBox="1">
            <a:spLocks noGrp="1"/>
          </p:cNvSpPr>
          <p:nvPr>
            <p:ph type="body" idx="1"/>
          </p:nvPr>
        </p:nvSpPr>
        <p:spPr>
          <a:xfrm>
            <a:off x="1381250" y="1616470"/>
            <a:ext cx="6809700" cy="3112200"/>
          </a:xfrm>
          <a:prstGeom prst="rect">
            <a:avLst/>
          </a:prstGeom>
        </p:spPr>
        <p:txBody>
          <a:bodyPr spcFirstLastPara="1" wrap="square" lIns="91425" tIns="91425" rIns="91425" bIns="91425" anchor="t" anchorCtr="0">
            <a:noAutofit/>
          </a:bodyPr>
          <a:lstStyle/>
          <a:p>
            <a:pPr marL="457200" lvl="0" indent="-381000" rtl="0">
              <a:spcBef>
                <a:spcPts val="600"/>
              </a:spcBef>
              <a:spcAft>
                <a:spcPts val="0"/>
              </a:spcAft>
              <a:buSzPts val="2400"/>
              <a:buChar char="◉"/>
            </a:pPr>
            <a:r>
              <a:rPr lang="fr-FR" sz="2000" dirty="0"/>
              <a:t>The </a:t>
            </a:r>
            <a:r>
              <a:rPr lang="fr-FR" sz="2000" dirty="0" err="1"/>
              <a:t>Bank’s</a:t>
            </a:r>
            <a:r>
              <a:rPr lang="fr-FR" sz="2000" dirty="0"/>
              <a:t> </a:t>
            </a:r>
            <a:r>
              <a:rPr lang="fr-FR" sz="2000" dirty="0" err="1"/>
              <a:t>Strategy</a:t>
            </a:r>
            <a:r>
              <a:rPr lang="fr-FR" sz="2000" dirty="0"/>
              <a:t> for the New Deal on </a:t>
            </a:r>
            <a:r>
              <a:rPr lang="fr-FR" sz="2000" dirty="0" err="1"/>
              <a:t>Energy</a:t>
            </a:r>
            <a:r>
              <a:rPr lang="fr-FR" sz="2000" dirty="0"/>
              <a:t> for </a:t>
            </a:r>
            <a:r>
              <a:rPr lang="fr-FR" sz="2000" dirty="0" err="1"/>
              <a:t>Africa</a:t>
            </a:r>
            <a:endParaRPr sz="2000" dirty="0"/>
          </a:p>
          <a:p>
            <a:pPr marL="457200" lvl="0" indent="-381000" rtl="0">
              <a:spcBef>
                <a:spcPts val="0"/>
              </a:spcBef>
              <a:spcAft>
                <a:spcPts val="0"/>
              </a:spcAft>
              <a:buSzPts val="2400"/>
              <a:buChar char="◉"/>
            </a:pPr>
            <a:r>
              <a:rPr lang="en-US" sz="2000" b="1" dirty="0"/>
              <a:t>Africa’s renewable energy potential and operations supported by the African Development Bank</a:t>
            </a:r>
          </a:p>
          <a:p>
            <a:pPr lvl="0">
              <a:spcBef>
                <a:spcPts val="0"/>
              </a:spcBef>
            </a:pPr>
            <a:r>
              <a:rPr lang="en-US" sz="2000" dirty="0"/>
              <a:t>African Development Bank </a:t>
            </a:r>
            <a:r>
              <a:rPr lang="en-US" sz="2000" dirty="0" smtClean="0"/>
              <a:t>special instruments </a:t>
            </a:r>
            <a:r>
              <a:rPr lang="en-US" sz="2000" dirty="0"/>
              <a:t>and initiatives in renewable energy</a:t>
            </a:r>
          </a:p>
          <a:p>
            <a:pPr lvl="0">
              <a:spcBef>
                <a:spcPts val="0"/>
              </a:spcBef>
            </a:pPr>
            <a:r>
              <a:rPr lang="en-US" sz="2000" dirty="0"/>
              <a:t>2018 Outlook: renewable energy projects and initiatives </a:t>
            </a:r>
          </a:p>
          <a:p>
            <a:pPr marL="0" lvl="0" indent="0">
              <a:spcBef>
                <a:spcPts val="600"/>
              </a:spcBef>
              <a:spcAft>
                <a:spcPts val="0"/>
              </a:spcAft>
              <a:buNone/>
            </a:pPr>
            <a:endParaRPr sz="2000" dirty="0"/>
          </a:p>
        </p:txBody>
      </p:sp>
      <p:grpSp>
        <p:nvGrpSpPr>
          <p:cNvPr id="9" name="Shape 413"/>
          <p:cNvGrpSpPr/>
          <p:nvPr/>
        </p:nvGrpSpPr>
        <p:grpSpPr>
          <a:xfrm>
            <a:off x="895890" y="982629"/>
            <a:ext cx="217750" cy="284040"/>
            <a:chOff x="590250" y="244200"/>
            <a:chExt cx="407975" cy="532175"/>
          </a:xfrm>
        </p:grpSpPr>
        <p:sp>
          <p:nvSpPr>
            <p:cNvPr id="10" name="Shape 414"/>
            <p:cNvSpPr/>
            <p:nvPr/>
          </p:nvSpPr>
          <p:spPr>
            <a:xfrm>
              <a:off x="623125" y="313625"/>
              <a:ext cx="375100" cy="462750"/>
            </a:xfrm>
            <a:custGeom>
              <a:avLst/>
              <a:gdLst/>
              <a:ahLst/>
              <a:cxnLst/>
              <a:rect l="0" t="0" r="0" b="0"/>
              <a:pathLst>
                <a:path w="15004" h="18510" fill="none" extrusionOk="0">
                  <a:moveTo>
                    <a:pt x="1" y="17536"/>
                  </a:moveTo>
                  <a:lnTo>
                    <a:pt x="1" y="17536"/>
                  </a:lnTo>
                  <a:lnTo>
                    <a:pt x="1" y="17536"/>
                  </a:lnTo>
                  <a:lnTo>
                    <a:pt x="25" y="17682"/>
                  </a:lnTo>
                  <a:lnTo>
                    <a:pt x="49" y="17852"/>
                  </a:lnTo>
                  <a:lnTo>
                    <a:pt x="123" y="18023"/>
                  </a:lnTo>
                  <a:lnTo>
                    <a:pt x="220" y="18193"/>
                  </a:lnTo>
                  <a:lnTo>
                    <a:pt x="293" y="18291"/>
                  </a:lnTo>
                  <a:lnTo>
                    <a:pt x="390" y="18364"/>
                  </a:lnTo>
                  <a:lnTo>
                    <a:pt x="488" y="18412"/>
                  </a:lnTo>
                  <a:lnTo>
                    <a:pt x="610" y="18461"/>
                  </a:lnTo>
                  <a:lnTo>
                    <a:pt x="756" y="18510"/>
                  </a:lnTo>
                  <a:lnTo>
                    <a:pt x="926" y="18510"/>
                  </a:lnTo>
                  <a:lnTo>
                    <a:pt x="14468" y="18510"/>
                  </a:lnTo>
                  <a:lnTo>
                    <a:pt x="14468" y="18510"/>
                  </a:lnTo>
                  <a:lnTo>
                    <a:pt x="14541" y="18510"/>
                  </a:lnTo>
                  <a:lnTo>
                    <a:pt x="14614" y="18485"/>
                  </a:lnTo>
                  <a:lnTo>
                    <a:pt x="14736" y="18412"/>
                  </a:lnTo>
                  <a:lnTo>
                    <a:pt x="14833" y="18291"/>
                  </a:lnTo>
                  <a:lnTo>
                    <a:pt x="14906" y="18144"/>
                  </a:lnTo>
                  <a:lnTo>
                    <a:pt x="14955" y="17974"/>
                  </a:lnTo>
                  <a:lnTo>
                    <a:pt x="14979" y="17779"/>
                  </a:lnTo>
                  <a:lnTo>
                    <a:pt x="15003" y="17438"/>
                  </a:lnTo>
                  <a:lnTo>
                    <a:pt x="15003" y="487"/>
                  </a:lnTo>
                  <a:lnTo>
                    <a:pt x="15003" y="487"/>
                  </a:lnTo>
                  <a:lnTo>
                    <a:pt x="15003" y="341"/>
                  </a:lnTo>
                  <a:lnTo>
                    <a:pt x="14979" y="219"/>
                  </a:lnTo>
                  <a:lnTo>
                    <a:pt x="14955" y="146"/>
                  </a:lnTo>
                  <a:lnTo>
                    <a:pt x="14906" y="73"/>
                  </a:lnTo>
                  <a:lnTo>
                    <a:pt x="14833" y="49"/>
                  </a:lnTo>
                  <a:lnTo>
                    <a:pt x="14736" y="24"/>
                  </a:lnTo>
                  <a:lnTo>
                    <a:pt x="14468"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1" name="Shape 415"/>
            <p:cNvSpPr/>
            <p:nvPr/>
          </p:nvSpPr>
          <p:spPr>
            <a:xfrm>
              <a:off x="590250" y="269775"/>
              <a:ext cx="377525" cy="462775"/>
            </a:xfrm>
            <a:custGeom>
              <a:avLst/>
              <a:gdLst/>
              <a:ahLst/>
              <a:cxnLst/>
              <a:rect l="0" t="0" r="0" b="0"/>
              <a:pathLst>
                <a:path w="15101" h="18511" fill="none" extrusionOk="0">
                  <a:moveTo>
                    <a:pt x="14321" y="0"/>
                  </a:moveTo>
                  <a:lnTo>
                    <a:pt x="780" y="0"/>
                  </a:lnTo>
                  <a:lnTo>
                    <a:pt x="780" y="0"/>
                  </a:lnTo>
                  <a:lnTo>
                    <a:pt x="634" y="25"/>
                  </a:lnTo>
                  <a:lnTo>
                    <a:pt x="488" y="74"/>
                  </a:lnTo>
                  <a:lnTo>
                    <a:pt x="342" y="122"/>
                  </a:lnTo>
                  <a:lnTo>
                    <a:pt x="220" y="220"/>
                  </a:lnTo>
                  <a:lnTo>
                    <a:pt x="122" y="341"/>
                  </a:lnTo>
                  <a:lnTo>
                    <a:pt x="74" y="488"/>
                  </a:lnTo>
                  <a:lnTo>
                    <a:pt x="25" y="634"/>
                  </a:lnTo>
                  <a:lnTo>
                    <a:pt x="1" y="780"/>
                  </a:lnTo>
                  <a:lnTo>
                    <a:pt x="1" y="17731"/>
                  </a:lnTo>
                  <a:lnTo>
                    <a:pt x="1" y="17731"/>
                  </a:lnTo>
                  <a:lnTo>
                    <a:pt x="25" y="17877"/>
                  </a:lnTo>
                  <a:lnTo>
                    <a:pt x="74" y="18023"/>
                  </a:lnTo>
                  <a:lnTo>
                    <a:pt x="122" y="18169"/>
                  </a:lnTo>
                  <a:lnTo>
                    <a:pt x="220" y="18291"/>
                  </a:lnTo>
                  <a:lnTo>
                    <a:pt x="342" y="18388"/>
                  </a:lnTo>
                  <a:lnTo>
                    <a:pt x="488" y="18437"/>
                  </a:lnTo>
                  <a:lnTo>
                    <a:pt x="634" y="18486"/>
                  </a:lnTo>
                  <a:lnTo>
                    <a:pt x="780" y="18510"/>
                  </a:lnTo>
                  <a:lnTo>
                    <a:pt x="14321" y="18510"/>
                  </a:lnTo>
                  <a:lnTo>
                    <a:pt x="14321" y="18510"/>
                  </a:lnTo>
                  <a:lnTo>
                    <a:pt x="14467" y="18486"/>
                  </a:lnTo>
                  <a:lnTo>
                    <a:pt x="14614" y="18437"/>
                  </a:lnTo>
                  <a:lnTo>
                    <a:pt x="14760" y="18388"/>
                  </a:lnTo>
                  <a:lnTo>
                    <a:pt x="14881" y="18291"/>
                  </a:lnTo>
                  <a:lnTo>
                    <a:pt x="14979" y="18169"/>
                  </a:lnTo>
                  <a:lnTo>
                    <a:pt x="15028" y="18023"/>
                  </a:lnTo>
                  <a:lnTo>
                    <a:pt x="15076" y="17877"/>
                  </a:lnTo>
                  <a:lnTo>
                    <a:pt x="15101" y="17731"/>
                  </a:lnTo>
                  <a:lnTo>
                    <a:pt x="15101" y="780"/>
                  </a:lnTo>
                  <a:lnTo>
                    <a:pt x="15101" y="780"/>
                  </a:lnTo>
                  <a:lnTo>
                    <a:pt x="15076" y="634"/>
                  </a:lnTo>
                  <a:lnTo>
                    <a:pt x="15028" y="488"/>
                  </a:lnTo>
                  <a:lnTo>
                    <a:pt x="14979" y="341"/>
                  </a:lnTo>
                  <a:lnTo>
                    <a:pt x="14881" y="220"/>
                  </a:lnTo>
                  <a:lnTo>
                    <a:pt x="14760" y="122"/>
                  </a:lnTo>
                  <a:lnTo>
                    <a:pt x="14614" y="74"/>
                  </a:lnTo>
                  <a:lnTo>
                    <a:pt x="14467" y="25"/>
                  </a:lnTo>
                  <a:lnTo>
                    <a:pt x="14321" y="0"/>
                  </a:lnTo>
                  <a:lnTo>
                    <a:pt x="14321"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2" name="Shape 416"/>
            <p:cNvSpPr/>
            <p:nvPr/>
          </p:nvSpPr>
          <p:spPr>
            <a:xfrm>
              <a:off x="796650" y="274025"/>
              <a:ext cx="45100" cy="45100"/>
            </a:xfrm>
            <a:custGeom>
              <a:avLst/>
              <a:gdLst/>
              <a:ahLst/>
              <a:cxnLst/>
              <a:rect l="0" t="0" r="0" b="0"/>
              <a:pathLst>
                <a:path w="1804" h="1804" fill="none" extrusionOk="0">
                  <a:moveTo>
                    <a:pt x="902" y="1"/>
                  </a:moveTo>
                  <a:lnTo>
                    <a:pt x="902" y="1"/>
                  </a:lnTo>
                  <a:lnTo>
                    <a:pt x="1073" y="25"/>
                  </a:lnTo>
                  <a:lnTo>
                    <a:pt x="1243" y="74"/>
                  </a:lnTo>
                  <a:lnTo>
                    <a:pt x="1414"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4" y="1657"/>
                  </a:lnTo>
                  <a:lnTo>
                    <a:pt x="1243" y="1730"/>
                  </a:lnTo>
                  <a:lnTo>
                    <a:pt x="1073" y="1779"/>
                  </a:lnTo>
                  <a:lnTo>
                    <a:pt x="902" y="1803"/>
                  </a:lnTo>
                  <a:lnTo>
                    <a:pt x="902" y="1803"/>
                  </a:lnTo>
                  <a:lnTo>
                    <a:pt x="732" y="1779"/>
                  </a:lnTo>
                  <a:lnTo>
                    <a:pt x="561" y="1730"/>
                  </a:lnTo>
                  <a:lnTo>
                    <a:pt x="391"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1" y="147"/>
                  </a:lnTo>
                  <a:lnTo>
                    <a:pt x="561" y="74"/>
                  </a:lnTo>
                  <a:lnTo>
                    <a:pt x="732" y="25"/>
                  </a:lnTo>
                  <a:lnTo>
                    <a:pt x="902" y="1"/>
                  </a:lnTo>
                  <a:lnTo>
                    <a:pt x="902"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3" name="Shape 417"/>
            <p:cNvSpPr/>
            <p:nvPr/>
          </p:nvSpPr>
          <p:spPr>
            <a:xfrm>
              <a:off x="713850" y="274025"/>
              <a:ext cx="45075" cy="45100"/>
            </a:xfrm>
            <a:custGeom>
              <a:avLst/>
              <a:gdLst/>
              <a:ahLst/>
              <a:cxnLst/>
              <a:rect l="0" t="0" r="0" b="0"/>
              <a:pathLst>
                <a:path w="1803" h="1804" fill="none" extrusionOk="0">
                  <a:moveTo>
                    <a:pt x="902" y="1"/>
                  </a:moveTo>
                  <a:lnTo>
                    <a:pt x="902" y="1"/>
                  </a:lnTo>
                  <a:lnTo>
                    <a:pt x="1072" y="25"/>
                  </a:lnTo>
                  <a:lnTo>
                    <a:pt x="1243" y="74"/>
                  </a:lnTo>
                  <a:lnTo>
                    <a:pt x="1413" y="147"/>
                  </a:lnTo>
                  <a:lnTo>
                    <a:pt x="1535" y="269"/>
                  </a:lnTo>
                  <a:lnTo>
                    <a:pt x="1657" y="391"/>
                  </a:lnTo>
                  <a:lnTo>
                    <a:pt x="1730" y="561"/>
                  </a:lnTo>
                  <a:lnTo>
                    <a:pt x="1779" y="732"/>
                  </a:lnTo>
                  <a:lnTo>
                    <a:pt x="1803" y="902"/>
                  </a:lnTo>
                  <a:lnTo>
                    <a:pt x="1803" y="902"/>
                  </a:lnTo>
                  <a:lnTo>
                    <a:pt x="1779"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9" y="1535"/>
                  </a:lnTo>
                  <a:lnTo>
                    <a:pt x="147" y="1414"/>
                  </a:lnTo>
                  <a:lnTo>
                    <a:pt x="74" y="1243"/>
                  </a:lnTo>
                  <a:lnTo>
                    <a:pt x="25" y="1073"/>
                  </a:lnTo>
                  <a:lnTo>
                    <a:pt x="1" y="902"/>
                  </a:lnTo>
                  <a:lnTo>
                    <a:pt x="1" y="902"/>
                  </a:lnTo>
                  <a:lnTo>
                    <a:pt x="25" y="732"/>
                  </a:lnTo>
                  <a:lnTo>
                    <a:pt x="74" y="561"/>
                  </a:lnTo>
                  <a:lnTo>
                    <a:pt x="147" y="391"/>
                  </a:lnTo>
                  <a:lnTo>
                    <a:pt x="269" y="269"/>
                  </a:lnTo>
                  <a:lnTo>
                    <a:pt x="390" y="147"/>
                  </a:lnTo>
                  <a:lnTo>
                    <a:pt x="561" y="74"/>
                  </a:lnTo>
                  <a:lnTo>
                    <a:pt x="731" y="25"/>
                  </a:lnTo>
                  <a:lnTo>
                    <a:pt x="902" y="1"/>
                  </a:lnTo>
                  <a:lnTo>
                    <a:pt x="902"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4" name="Shape 418"/>
            <p:cNvSpPr/>
            <p:nvPr/>
          </p:nvSpPr>
          <p:spPr>
            <a:xfrm>
              <a:off x="631050" y="274025"/>
              <a:ext cx="45075" cy="45100"/>
            </a:xfrm>
            <a:custGeom>
              <a:avLst/>
              <a:gdLst/>
              <a:ahLst/>
              <a:cxnLst/>
              <a:rect l="0" t="0" r="0" b="0"/>
              <a:pathLst>
                <a:path w="1803" h="1804" fill="none" extrusionOk="0">
                  <a:moveTo>
                    <a:pt x="0" y="902"/>
                  </a:moveTo>
                  <a:lnTo>
                    <a:pt x="0" y="902"/>
                  </a:lnTo>
                  <a:lnTo>
                    <a:pt x="25" y="732"/>
                  </a:lnTo>
                  <a:lnTo>
                    <a:pt x="73" y="561"/>
                  </a:lnTo>
                  <a:lnTo>
                    <a:pt x="147" y="391"/>
                  </a:lnTo>
                  <a:lnTo>
                    <a:pt x="268" y="269"/>
                  </a:lnTo>
                  <a:lnTo>
                    <a:pt x="390" y="147"/>
                  </a:lnTo>
                  <a:lnTo>
                    <a:pt x="561" y="74"/>
                  </a:lnTo>
                  <a:lnTo>
                    <a:pt x="731" y="25"/>
                  </a:lnTo>
                  <a:lnTo>
                    <a:pt x="902" y="1"/>
                  </a:lnTo>
                  <a:lnTo>
                    <a:pt x="902" y="1"/>
                  </a:lnTo>
                  <a:lnTo>
                    <a:pt x="1072" y="25"/>
                  </a:lnTo>
                  <a:lnTo>
                    <a:pt x="1243" y="74"/>
                  </a:lnTo>
                  <a:lnTo>
                    <a:pt x="1413" y="147"/>
                  </a:lnTo>
                  <a:lnTo>
                    <a:pt x="1535" y="269"/>
                  </a:lnTo>
                  <a:lnTo>
                    <a:pt x="1657" y="391"/>
                  </a:lnTo>
                  <a:lnTo>
                    <a:pt x="1730" y="561"/>
                  </a:lnTo>
                  <a:lnTo>
                    <a:pt x="1778" y="732"/>
                  </a:lnTo>
                  <a:lnTo>
                    <a:pt x="1803" y="902"/>
                  </a:lnTo>
                  <a:lnTo>
                    <a:pt x="1803" y="902"/>
                  </a:lnTo>
                  <a:lnTo>
                    <a:pt x="1778" y="1073"/>
                  </a:lnTo>
                  <a:lnTo>
                    <a:pt x="1730" y="1243"/>
                  </a:lnTo>
                  <a:lnTo>
                    <a:pt x="1657" y="1414"/>
                  </a:lnTo>
                  <a:lnTo>
                    <a:pt x="1535" y="1535"/>
                  </a:lnTo>
                  <a:lnTo>
                    <a:pt x="1413" y="1657"/>
                  </a:lnTo>
                  <a:lnTo>
                    <a:pt x="1243" y="1730"/>
                  </a:lnTo>
                  <a:lnTo>
                    <a:pt x="1072" y="1779"/>
                  </a:lnTo>
                  <a:lnTo>
                    <a:pt x="902" y="1803"/>
                  </a:lnTo>
                  <a:lnTo>
                    <a:pt x="902" y="1803"/>
                  </a:lnTo>
                  <a:lnTo>
                    <a:pt x="731" y="1779"/>
                  </a:lnTo>
                  <a:lnTo>
                    <a:pt x="561" y="1730"/>
                  </a:lnTo>
                  <a:lnTo>
                    <a:pt x="390" y="1657"/>
                  </a:lnTo>
                  <a:lnTo>
                    <a:pt x="268" y="1535"/>
                  </a:lnTo>
                  <a:lnTo>
                    <a:pt x="147" y="1414"/>
                  </a:lnTo>
                  <a:lnTo>
                    <a:pt x="73" y="1243"/>
                  </a:lnTo>
                  <a:lnTo>
                    <a:pt x="25" y="1073"/>
                  </a:lnTo>
                  <a:lnTo>
                    <a:pt x="0" y="902"/>
                  </a:lnTo>
                  <a:lnTo>
                    <a:pt x="0" y="902"/>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5" name="Shape 419"/>
            <p:cNvSpPr/>
            <p:nvPr/>
          </p:nvSpPr>
          <p:spPr>
            <a:xfrm>
              <a:off x="649925" y="590050"/>
              <a:ext cx="133975" cy="25"/>
            </a:xfrm>
            <a:custGeom>
              <a:avLst/>
              <a:gdLst/>
              <a:ahLst/>
              <a:cxnLst/>
              <a:rect l="0" t="0" r="0" b="0"/>
              <a:pathLst>
                <a:path w="5359" h="1" fill="none" extrusionOk="0">
                  <a:moveTo>
                    <a:pt x="5358" y="0"/>
                  </a:moveTo>
                  <a:lnTo>
                    <a:pt x="0" y="0"/>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6" name="Shape 420"/>
            <p:cNvSpPr/>
            <p:nvPr/>
          </p:nvSpPr>
          <p:spPr>
            <a:xfrm>
              <a:off x="649925" y="5346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7" name="Shape 421"/>
            <p:cNvSpPr/>
            <p:nvPr/>
          </p:nvSpPr>
          <p:spPr>
            <a:xfrm>
              <a:off x="649925" y="4798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8" name="Shape 422"/>
            <p:cNvSpPr/>
            <p:nvPr/>
          </p:nvSpPr>
          <p:spPr>
            <a:xfrm>
              <a:off x="649925" y="424425"/>
              <a:ext cx="255750" cy="25"/>
            </a:xfrm>
            <a:custGeom>
              <a:avLst/>
              <a:gdLst/>
              <a:ahLst/>
              <a:cxnLst/>
              <a:rect l="0" t="0" r="0" b="0"/>
              <a:pathLst>
                <a:path w="10230" h="1" fill="none" extrusionOk="0">
                  <a:moveTo>
                    <a:pt x="10229" y="1"/>
                  </a:moveTo>
                  <a:lnTo>
                    <a:pt x="0" y="1"/>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19" name="Shape 423"/>
            <p:cNvSpPr/>
            <p:nvPr/>
          </p:nvSpPr>
          <p:spPr>
            <a:xfrm>
              <a:off x="879475" y="274025"/>
              <a:ext cx="45075" cy="45100"/>
            </a:xfrm>
            <a:custGeom>
              <a:avLst/>
              <a:gdLst/>
              <a:ahLst/>
              <a:cxnLst/>
              <a:rect l="0" t="0" r="0" b="0"/>
              <a:pathLst>
                <a:path w="1803" h="1804" fill="none" extrusionOk="0">
                  <a:moveTo>
                    <a:pt x="901" y="1803"/>
                  </a:moveTo>
                  <a:lnTo>
                    <a:pt x="901" y="1803"/>
                  </a:lnTo>
                  <a:lnTo>
                    <a:pt x="731" y="1779"/>
                  </a:lnTo>
                  <a:lnTo>
                    <a:pt x="560" y="1730"/>
                  </a:lnTo>
                  <a:lnTo>
                    <a:pt x="390" y="1657"/>
                  </a:lnTo>
                  <a:lnTo>
                    <a:pt x="268" y="1535"/>
                  </a:lnTo>
                  <a:lnTo>
                    <a:pt x="146" y="1414"/>
                  </a:lnTo>
                  <a:lnTo>
                    <a:pt x="73" y="1243"/>
                  </a:lnTo>
                  <a:lnTo>
                    <a:pt x="25" y="1073"/>
                  </a:lnTo>
                  <a:lnTo>
                    <a:pt x="0" y="902"/>
                  </a:lnTo>
                  <a:lnTo>
                    <a:pt x="0" y="902"/>
                  </a:lnTo>
                  <a:lnTo>
                    <a:pt x="25" y="732"/>
                  </a:lnTo>
                  <a:lnTo>
                    <a:pt x="73" y="561"/>
                  </a:lnTo>
                  <a:lnTo>
                    <a:pt x="146" y="391"/>
                  </a:lnTo>
                  <a:lnTo>
                    <a:pt x="268" y="269"/>
                  </a:lnTo>
                  <a:lnTo>
                    <a:pt x="390" y="147"/>
                  </a:lnTo>
                  <a:lnTo>
                    <a:pt x="560" y="74"/>
                  </a:lnTo>
                  <a:lnTo>
                    <a:pt x="731" y="25"/>
                  </a:lnTo>
                  <a:lnTo>
                    <a:pt x="901" y="1"/>
                  </a:lnTo>
                  <a:lnTo>
                    <a:pt x="901" y="1"/>
                  </a:lnTo>
                  <a:lnTo>
                    <a:pt x="1072" y="25"/>
                  </a:lnTo>
                  <a:lnTo>
                    <a:pt x="1242" y="74"/>
                  </a:lnTo>
                  <a:lnTo>
                    <a:pt x="1413" y="147"/>
                  </a:lnTo>
                  <a:lnTo>
                    <a:pt x="1535" y="269"/>
                  </a:lnTo>
                  <a:lnTo>
                    <a:pt x="1656" y="391"/>
                  </a:lnTo>
                  <a:lnTo>
                    <a:pt x="1729" y="561"/>
                  </a:lnTo>
                  <a:lnTo>
                    <a:pt x="1778" y="732"/>
                  </a:lnTo>
                  <a:lnTo>
                    <a:pt x="1802" y="902"/>
                  </a:lnTo>
                  <a:lnTo>
                    <a:pt x="1802" y="902"/>
                  </a:lnTo>
                  <a:lnTo>
                    <a:pt x="1778" y="1073"/>
                  </a:lnTo>
                  <a:lnTo>
                    <a:pt x="1729" y="1243"/>
                  </a:lnTo>
                  <a:lnTo>
                    <a:pt x="1656" y="1414"/>
                  </a:lnTo>
                  <a:lnTo>
                    <a:pt x="1535" y="1535"/>
                  </a:lnTo>
                  <a:lnTo>
                    <a:pt x="1413" y="1657"/>
                  </a:lnTo>
                  <a:lnTo>
                    <a:pt x="1242" y="1730"/>
                  </a:lnTo>
                  <a:lnTo>
                    <a:pt x="1072" y="1779"/>
                  </a:lnTo>
                  <a:lnTo>
                    <a:pt x="901" y="1803"/>
                  </a:lnTo>
                  <a:lnTo>
                    <a:pt x="901" y="1803"/>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0" name="Shape 424"/>
            <p:cNvSpPr/>
            <p:nvPr/>
          </p:nvSpPr>
          <p:spPr>
            <a:xfrm>
              <a:off x="654800" y="244200"/>
              <a:ext cx="25" cy="51175"/>
            </a:xfrm>
            <a:custGeom>
              <a:avLst/>
              <a:gdLst/>
              <a:ahLst/>
              <a:cxnLst/>
              <a:rect l="0" t="0" r="0" b="0"/>
              <a:pathLst>
                <a:path w="1" h="2047" fill="none" extrusionOk="0">
                  <a:moveTo>
                    <a:pt x="0" y="1"/>
                  </a:moveTo>
                  <a:lnTo>
                    <a:pt x="0"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1" name="Shape 425"/>
            <p:cNvSpPr/>
            <p:nvPr/>
          </p:nvSpPr>
          <p:spPr>
            <a:xfrm>
              <a:off x="737600" y="244200"/>
              <a:ext cx="25" cy="51175"/>
            </a:xfrm>
            <a:custGeom>
              <a:avLst/>
              <a:gdLst/>
              <a:ahLst/>
              <a:cxnLst/>
              <a:rect l="0" t="0" r="0" b="0"/>
              <a:pathLst>
                <a:path w="1" h="2047" fill="none" extrusionOk="0">
                  <a:moveTo>
                    <a:pt x="1" y="1"/>
                  </a:moveTo>
                  <a:lnTo>
                    <a:pt x="1"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2" name="Shape 426"/>
            <p:cNvSpPr/>
            <p:nvPr/>
          </p:nvSpPr>
          <p:spPr>
            <a:xfrm>
              <a:off x="820400" y="244200"/>
              <a:ext cx="25" cy="51175"/>
            </a:xfrm>
            <a:custGeom>
              <a:avLst/>
              <a:gdLst/>
              <a:ahLst/>
              <a:cxnLst/>
              <a:rect l="0" t="0" r="0" b="0"/>
              <a:pathLst>
                <a:path w="1" h="2047" fill="none" extrusionOk="0">
                  <a:moveTo>
                    <a:pt x="1" y="1"/>
                  </a:moveTo>
                  <a:lnTo>
                    <a:pt x="1"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23" name="Shape 427"/>
            <p:cNvSpPr/>
            <p:nvPr/>
          </p:nvSpPr>
          <p:spPr>
            <a:xfrm>
              <a:off x="903225" y="244200"/>
              <a:ext cx="25" cy="51175"/>
            </a:xfrm>
            <a:custGeom>
              <a:avLst/>
              <a:gdLst/>
              <a:ahLst/>
              <a:cxnLst/>
              <a:rect l="0" t="0" r="0" b="0"/>
              <a:pathLst>
                <a:path w="1" h="2047" fill="none" extrusionOk="0">
                  <a:moveTo>
                    <a:pt x="0" y="1"/>
                  </a:moveTo>
                  <a:lnTo>
                    <a:pt x="0" y="2046"/>
                  </a:lnTo>
                </a:path>
              </a:pathLst>
            </a:custGeom>
            <a:noFill/>
            <a:ln w="9525" cap="rnd" cmpd="sng">
              <a:solidFill>
                <a:srgbClr val="000000"/>
              </a:solidFill>
              <a:prstDash val="solid"/>
              <a:round/>
              <a:headEnd type="none" w="med" len="med"/>
              <a:tailEnd type="none" w="med" len="med"/>
            </a:ln>
          </p:spPr>
          <p:txBody>
            <a:bodyPr spcFirstLastPara="1" wrap="square" lIns="91425" tIns="91425" rIns="91425" bIns="91425" anchor="ctr" anchorCtr="0">
              <a:noAutofit/>
            </a:bodyPr>
            <a:lstStyle/>
            <a:p>
              <a:pPr marL="0" lvl="0" indent="0">
                <a:spcBef>
                  <a:spcPts val="0"/>
                </a:spcBef>
                <a:spcAft>
                  <a:spcPts val="0"/>
                </a:spcAft>
                <a:buNone/>
              </a:pPr>
              <a:endParaRPr/>
            </a:p>
          </p:txBody>
        </p:sp>
      </p:grpSp>
    </p:spTree>
    <p:extLst>
      <p:ext uri="{BB962C8B-B14F-4D97-AF65-F5344CB8AC3E}">
        <p14:creationId xmlns:p14="http://schemas.microsoft.com/office/powerpoint/2010/main" val="31911527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488BA-F14B-EE46-BA2F-2A1938F38023}"/>
              </a:ext>
            </a:extLst>
          </p:cNvPr>
          <p:cNvSpPr>
            <a:spLocks noGrp="1"/>
          </p:cNvSpPr>
          <p:nvPr>
            <p:ph type="title"/>
          </p:nvPr>
        </p:nvSpPr>
        <p:spPr>
          <a:xfrm>
            <a:off x="1381250" y="886857"/>
            <a:ext cx="7571831" cy="435600"/>
          </a:xfrm>
        </p:spPr>
        <p:txBody>
          <a:bodyPr/>
          <a:lstStyle/>
          <a:p>
            <a:r>
              <a:rPr lang="en-US" sz="2400" dirty="0"/>
              <a:t>Africa has an immense renewable energy potential </a:t>
            </a:r>
          </a:p>
        </p:txBody>
      </p:sp>
      <p:pic>
        <p:nvPicPr>
          <p:cNvPr id="4" name="Image 3"/>
          <p:cNvPicPr>
            <a:picLocks noChangeAspect="1"/>
          </p:cNvPicPr>
          <p:nvPr/>
        </p:nvPicPr>
        <p:blipFill>
          <a:blip r:embed="rId3"/>
          <a:stretch>
            <a:fillRect/>
          </a:stretch>
        </p:blipFill>
        <p:spPr>
          <a:xfrm>
            <a:off x="920288" y="1548760"/>
            <a:ext cx="3802184" cy="3330766"/>
          </a:xfrm>
          <a:prstGeom prst="rect">
            <a:avLst/>
          </a:prstGeom>
        </p:spPr>
      </p:pic>
      <p:sp>
        <p:nvSpPr>
          <p:cNvPr id="5" name="Rectangle 4"/>
          <p:cNvSpPr/>
          <p:nvPr/>
        </p:nvSpPr>
        <p:spPr>
          <a:xfrm>
            <a:off x="849094" y="4866437"/>
            <a:ext cx="4648812" cy="246221"/>
          </a:xfrm>
          <a:prstGeom prst="rect">
            <a:avLst/>
          </a:prstGeom>
        </p:spPr>
        <p:txBody>
          <a:bodyPr wrap="square">
            <a:spAutoFit/>
          </a:bodyPr>
          <a:lstStyle/>
          <a:p>
            <a:pPr algn="just"/>
            <a:r>
              <a:rPr lang="en-US" sz="1000" i="1" dirty="0"/>
              <a:t>Distribution of identified renewable energy potential in Africa (Source: IRENA)</a:t>
            </a:r>
            <a:endParaRPr lang="fr-FR" sz="1000" i="1" dirty="0"/>
          </a:p>
        </p:txBody>
      </p:sp>
      <p:sp>
        <p:nvSpPr>
          <p:cNvPr id="7" name="TextBox 6">
            <a:extLst>
              <a:ext uri="{FF2B5EF4-FFF2-40B4-BE49-F238E27FC236}">
                <a16:creationId xmlns:a16="http://schemas.microsoft.com/office/drawing/2014/main" id="{07E3B939-6367-974A-AAA9-B6168AD612DD}"/>
              </a:ext>
            </a:extLst>
          </p:cNvPr>
          <p:cNvSpPr txBox="1"/>
          <p:nvPr/>
        </p:nvSpPr>
        <p:spPr>
          <a:xfrm>
            <a:off x="5306502" y="1984188"/>
            <a:ext cx="3062435" cy="1815882"/>
          </a:xfrm>
          <a:prstGeom prst="rect">
            <a:avLst/>
          </a:prstGeom>
          <a:noFill/>
        </p:spPr>
        <p:txBody>
          <a:bodyPr wrap="square" rtlCol="0">
            <a:spAutoFit/>
          </a:bodyPr>
          <a:lstStyle/>
          <a:p>
            <a:r>
              <a:rPr lang="en-US" dirty="0">
                <a:ea typeface="Calibri" panose="020F0502020204030204" pitchFamily="34" charset="0"/>
                <a:cs typeface="Times New Roman" panose="02020603050405020304" pitchFamily="18" charset="0"/>
              </a:rPr>
              <a:t>The International Renewable Energy Agency (IRENA) estimates the cost-effective potential for renewable energy in Africa at </a:t>
            </a:r>
            <a:r>
              <a:rPr lang="en-US" b="1" dirty="0">
                <a:ea typeface="Calibri" panose="020F0502020204030204" pitchFamily="34" charset="0"/>
                <a:cs typeface="Times New Roman" panose="02020603050405020304" pitchFamily="18" charset="0"/>
              </a:rPr>
              <a:t>310 GW by 2030 </a:t>
            </a:r>
            <a:r>
              <a:rPr lang="en-US" dirty="0">
                <a:ea typeface="Calibri" panose="020F0502020204030204" pitchFamily="34" charset="0"/>
                <a:cs typeface="Times New Roman" panose="02020603050405020304" pitchFamily="18" charset="0"/>
              </a:rPr>
              <a:t>and </a:t>
            </a:r>
            <a:r>
              <a:rPr lang="en-US" dirty="0"/>
              <a:t>tapping this potential would require an annual investment of </a:t>
            </a:r>
            <a:r>
              <a:rPr lang="en-US" b="1" dirty="0"/>
              <a:t>USD 32 billion</a:t>
            </a:r>
            <a:r>
              <a:rPr lang="en-US" dirty="0"/>
              <a:t> for renewables generation capacity.</a:t>
            </a:r>
            <a:endParaRPr lang="fr-FR" dirty="0"/>
          </a:p>
        </p:txBody>
      </p:sp>
    </p:spTree>
    <p:extLst>
      <p:ext uri="{BB962C8B-B14F-4D97-AF65-F5344CB8AC3E}">
        <p14:creationId xmlns:p14="http://schemas.microsoft.com/office/powerpoint/2010/main" val="34108214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gc0..38XEemwPJAzPgVEw"/>
</p:tagLst>
</file>

<file path=ppt/theme/theme1.xml><?xml version="1.0" encoding="utf-8"?>
<a:theme xmlns:a="http://schemas.openxmlformats.org/drawingml/2006/main" name="Viola template">
  <a:themeElements>
    <a:clrScheme name="Custom 347">
      <a:dk1>
        <a:srgbClr val="000000"/>
      </a:dk1>
      <a:lt1>
        <a:srgbClr val="FFFFFF"/>
      </a:lt1>
      <a:dk2>
        <a:srgbClr val="666666"/>
      </a:dk2>
      <a:lt2>
        <a:srgbClr val="CCCCCC"/>
      </a:lt2>
      <a:accent1>
        <a:srgbClr val="3A81BA"/>
      </a:accent1>
      <a:accent2>
        <a:srgbClr val="D89F39"/>
      </a:accent2>
      <a:accent3>
        <a:srgbClr val="8BAB42"/>
      </a:accent3>
      <a:accent4>
        <a:srgbClr val="57A7B5"/>
      </a:accent4>
      <a:accent5>
        <a:srgbClr val="8B81D2"/>
      </a:accent5>
      <a:accent6>
        <a:srgbClr val="963334"/>
      </a:accent6>
      <a:hlink>
        <a:srgbClr val="1155C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ntoduction to PEVP_24012018" id="{8AF4C906-0B61-0142-B14A-119B20C42EA6}" vid="{EBA17D0C-F981-F74A-950F-FDA7AA4301CA}"/>
    </a:ext>
  </a:ext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iola template</Template>
  <TotalTime>488</TotalTime>
  <Words>1754</Words>
  <Application>Microsoft Office PowerPoint</Application>
  <PresentationFormat>On-screen Show (16:9)</PresentationFormat>
  <Paragraphs>140</Paragraphs>
  <Slides>20</Slides>
  <Notes>10</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3" baseType="lpstr">
      <vt:lpstr>ＭＳ Ｐゴシック</vt:lpstr>
      <vt:lpstr>Arial</vt:lpstr>
      <vt:lpstr>Arial Unicode MS</vt:lpstr>
      <vt:lpstr>Avenir Black</vt:lpstr>
      <vt:lpstr>Calibri</vt:lpstr>
      <vt:lpstr>Cambria</vt:lpstr>
      <vt:lpstr>Estrangelo Edessa</vt:lpstr>
      <vt:lpstr>Lora</vt:lpstr>
      <vt:lpstr>Quattrocento Sans</vt:lpstr>
      <vt:lpstr>Times New Roman</vt:lpstr>
      <vt:lpstr>Verdana</vt:lpstr>
      <vt:lpstr>Viola template</vt:lpstr>
      <vt:lpstr>think-cell Slide</vt:lpstr>
      <vt:lpstr>Lighting up and powering Africa with the African Development Bank</vt:lpstr>
      <vt:lpstr>Hello!</vt:lpstr>
      <vt:lpstr>Presentation outline</vt:lpstr>
      <vt:lpstr>Africa’s energy needs are critical and urgent</vt:lpstr>
      <vt:lpstr>African Development Bank launched the New Deal on Energy for Africa in 2016</vt:lpstr>
      <vt:lpstr>The private sector has an important role to play in achieving the New Deal targets</vt:lpstr>
      <vt:lpstr>PowerPoint Presentation</vt:lpstr>
      <vt:lpstr>Presentation outline</vt:lpstr>
      <vt:lpstr>Africa has an immense renewable energy potential </vt:lpstr>
      <vt:lpstr>The African Development Bank’s interventions cover all facets of renewable energy</vt:lpstr>
      <vt:lpstr>Selected renewable energy projects supported by the African Development Bank (1/3)</vt:lpstr>
      <vt:lpstr>Selected renewable energy projects supported by the African Development Bank (2/3)</vt:lpstr>
      <vt:lpstr>Selected renewable energy projects supported by the African Development Bank (3/3)</vt:lpstr>
      <vt:lpstr>Presentation outline</vt:lpstr>
      <vt:lpstr>The Facility for Energy Inclusion (FEI)</vt:lpstr>
      <vt:lpstr>Sustainable Energy Fund for Africa (SEFA)</vt:lpstr>
      <vt:lpstr>Presentation outline</vt:lpstr>
      <vt:lpstr>Selected operations expected to be supported by the African Development Bank</vt:lpstr>
      <vt:lpstr>Initiativ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rica’s energy needs and opportunities with the African Development Bank</dc:title>
  <dc:creator>dieter gijsbrechts</dc:creator>
  <cp:lastModifiedBy>Daniel Schroth</cp:lastModifiedBy>
  <cp:revision>63</cp:revision>
  <dcterms:created xsi:type="dcterms:W3CDTF">2018-02-26T09:21:18Z</dcterms:created>
  <dcterms:modified xsi:type="dcterms:W3CDTF">2018-02-26T23:28:16Z</dcterms:modified>
</cp:coreProperties>
</file>